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3"/>
  </p:sldMasterIdLst>
  <p:notesMasterIdLst>
    <p:notesMasterId r:id="rId5"/>
  </p:notesMasterIdLst>
  <p:handoutMasterIdLst>
    <p:handoutMasterId r:id="rId19"/>
  </p:handoutMasterIdLst>
  <p:sldIdLst>
    <p:sldId id="256" r:id="rId4"/>
    <p:sldId id="360" r:id="rId6"/>
    <p:sldId id="269" r:id="rId7"/>
    <p:sldId id="258" r:id="rId8"/>
    <p:sldId id="310" r:id="rId9"/>
    <p:sldId id="313" r:id="rId10"/>
    <p:sldId id="314" r:id="rId11"/>
    <p:sldId id="318" r:id="rId12"/>
    <p:sldId id="319" r:id="rId13"/>
    <p:sldId id="320" r:id="rId14"/>
    <p:sldId id="324" r:id="rId15"/>
    <p:sldId id="362" r:id="rId16"/>
    <p:sldId id="363" r:id="rId17"/>
    <p:sldId id="261" r:id="rId18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0416"/>
    <a:srgbClr val="111CFF"/>
    <a:srgbClr val="F58DF7"/>
    <a:srgbClr val="300EAE"/>
    <a:srgbClr val="0433A9"/>
    <a:srgbClr val="6F96A7"/>
    <a:srgbClr val="FD7623"/>
    <a:srgbClr val="FFC000"/>
    <a:srgbClr val="FAA226"/>
    <a:srgbClr val="FCCC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8" autoAdjust="0"/>
    <p:restoredTop sz="95728" autoAdjust="0"/>
  </p:normalViewPr>
  <p:slideViewPr>
    <p:cSldViewPr snapToGrid="0">
      <p:cViewPr varScale="1">
        <p:scale>
          <a:sx n="109" d="100"/>
          <a:sy n="109" d="100"/>
        </p:scale>
        <p:origin x="848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38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3" Type="http://schemas.openxmlformats.org/officeDocument/2006/relationships/tags" Target="tags/tag6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handoutMaster" Target="handoutMasters/handoutMaster1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Slide Image Placeholder 1"/>
          <p:cNvSpPr/>
          <p:nvPr>
            <p:ph type="sldImg" idx="2"/>
          </p:nvPr>
        </p:nvSpPr>
        <p:spPr/>
      </p:sp>
      <p:sp>
        <p:nvSpPr>
          <p:cNvPr id="3" name="Text Placeholder 2"/>
          <p:cNvSpPr/>
          <p:nvPr>
            <p:ph type="body" idx="3"/>
          </p:nvPr>
        </p:nvSpPr>
        <p:spPr/>
        <p:txBody>
          <a:bodyPr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ïṣḻiď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îṥ1ïḑé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íṥļîdê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îSľiḑe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iŝḻiḑê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ïsľídê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iṩľíďè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î$1ïďê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îṣļíḋe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ŝ1îdè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ṩḻíďè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ísľîḍé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1iḍ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iśḷïḍê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ṡḻiḍ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ïṡľiḋé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íślîḍ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š1ïďe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ŝlîḍ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śḻïdé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ísļiďe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ṥḻîḓe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ṥḷïḋé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ïśļïdé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34" name="组合 33"/>
          <p:cNvGrpSpPr/>
          <p:nvPr userDrawn="1"/>
        </p:nvGrpSpPr>
        <p:grpSpPr>
          <a:xfrm>
            <a:off x="-760661" y="1204686"/>
            <a:ext cx="4527681" cy="6252838"/>
            <a:chOff x="-760661" y="1204686"/>
            <a:chExt cx="4527681" cy="6252838"/>
          </a:xfrm>
        </p:grpSpPr>
        <p:sp>
          <p:nvSpPr>
            <p:cNvPr id="35" name="iSḻîḑê"/>
            <p:cNvSpPr/>
            <p:nvPr/>
          </p:nvSpPr>
          <p:spPr>
            <a:xfrm>
              <a:off x="354844" y="6290704"/>
              <a:ext cx="1181164" cy="1166820"/>
            </a:xfrm>
            <a:custGeom>
              <a:avLst/>
              <a:gdLst>
                <a:gd name="connsiteX0" fmla="*/ 0 w 1181164"/>
                <a:gd name="connsiteY0" fmla="*/ 0 h 1166820"/>
                <a:gd name="connsiteX1" fmla="*/ 393722 w 1181164"/>
                <a:gd name="connsiteY1" fmla="*/ 1166821 h 1166820"/>
                <a:gd name="connsiteX2" fmla="*/ 1181165 w 1181164"/>
                <a:gd name="connsiteY2" fmla="*/ 344054 h 1166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81164" h="1166820">
                  <a:moveTo>
                    <a:pt x="0" y="0"/>
                  </a:moveTo>
                  <a:lnTo>
                    <a:pt x="393722" y="1166821"/>
                  </a:lnTo>
                  <a:lnTo>
                    <a:pt x="1181165" y="344054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îṡ1ïdè"/>
            <p:cNvSpPr/>
            <p:nvPr/>
          </p:nvSpPr>
          <p:spPr>
            <a:xfrm>
              <a:off x="-760661" y="5168787"/>
              <a:ext cx="1246765" cy="1525789"/>
            </a:xfrm>
            <a:custGeom>
              <a:avLst/>
              <a:gdLst>
                <a:gd name="connsiteX0" fmla="*/ 0 w 1246765"/>
                <a:gd name="connsiteY0" fmla="*/ 0 h 1525789"/>
                <a:gd name="connsiteX1" fmla="*/ 721784 w 1246765"/>
                <a:gd name="connsiteY1" fmla="*/ 1525790 h 1525789"/>
                <a:gd name="connsiteX2" fmla="*/ 1246766 w 1246765"/>
                <a:gd name="connsiteY2" fmla="*/ 89755 h 1525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765" h="1525789">
                  <a:moveTo>
                    <a:pt x="0" y="0"/>
                  </a:moveTo>
                  <a:lnTo>
                    <a:pt x="721784" y="1525790"/>
                  </a:lnTo>
                  <a:lnTo>
                    <a:pt x="1246766" y="89755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iṥḻiḓè"/>
            <p:cNvSpPr/>
            <p:nvPr/>
          </p:nvSpPr>
          <p:spPr>
            <a:xfrm>
              <a:off x="715736" y="5662416"/>
              <a:ext cx="1164750" cy="718043"/>
            </a:xfrm>
            <a:custGeom>
              <a:avLst/>
              <a:gdLst>
                <a:gd name="connsiteX0" fmla="*/ 0 w 1164750"/>
                <a:gd name="connsiteY0" fmla="*/ 0 h 718043"/>
                <a:gd name="connsiteX1" fmla="*/ 377307 w 1164750"/>
                <a:gd name="connsiteY1" fmla="*/ 718044 h 718043"/>
                <a:gd name="connsiteX2" fmla="*/ 1164750 w 1164750"/>
                <a:gd name="connsiteY2" fmla="*/ 344054 h 718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4750" h="718043">
                  <a:moveTo>
                    <a:pt x="0" y="0"/>
                  </a:moveTo>
                  <a:lnTo>
                    <a:pt x="377307" y="718044"/>
                  </a:lnTo>
                  <a:lnTo>
                    <a:pt x="1164750" y="344054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iṥ1iḑê"/>
            <p:cNvSpPr/>
            <p:nvPr/>
          </p:nvSpPr>
          <p:spPr>
            <a:xfrm>
              <a:off x="1700040" y="5019212"/>
              <a:ext cx="787443" cy="688107"/>
            </a:xfrm>
            <a:custGeom>
              <a:avLst/>
              <a:gdLst>
                <a:gd name="connsiteX0" fmla="*/ 0 w 787443"/>
                <a:gd name="connsiteY0" fmla="*/ 0 h 688107"/>
                <a:gd name="connsiteX1" fmla="*/ 180446 w 787443"/>
                <a:gd name="connsiteY1" fmla="*/ 688107 h 688107"/>
                <a:gd name="connsiteX2" fmla="*/ 787443 w 787443"/>
                <a:gd name="connsiteY2" fmla="*/ 433809 h 68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443" h="688107">
                  <a:moveTo>
                    <a:pt x="0" y="0"/>
                  </a:moveTo>
                  <a:lnTo>
                    <a:pt x="180446" y="688107"/>
                  </a:lnTo>
                  <a:lnTo>
                    <a:pt x="787443" y="433809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ïṣ1íḋê"/>
            <p:cNvSpPr/>
            <p:nvPr/>
          </p:nvSpPr>
          <p:spPr>
            <a:xfrm>
              <a:off x="2389053" y="5587628"/>
              <a:ext cx="180446" cy="299202"/>
            </a:xfrm>
            <a:custGeom>
              <a:avLst/>
              <a:gdLst>
                <a:gd name="connsiteX0" fmla="*/ 0 w 180446"/>
                <a:gd name="connsiteY0" fmla="*/ 299203 h 299202"/>
                <a:gd name="connsiteX1" fmla="*/ 164031 w 180446"/>
                <a:gd name="connsiteY1" fmla="*/ 0 h 299202"/>
                <a:gd name="connsiteX2" fmla="*/ 180446 w 180446"/>
                <a:gd name="connsiteY2" fmla="*/ 269266 h 299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46" h="299202">
                  <a:moveTo>
                    <a:pt x="0" y="299203"/>
                  </a:moveTo>
                  <a:lnTo>
                    <a:pt x="164031" y="0"/>
                  </a:lnTo>
                  <a:lnTo>
                    <a:pt x="180446" y="26926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ïṣ1ïdê"/>
            <p:cNvSpPr/>
            <p:nvPr/>
          </p:nvSpPr>
          <p:spPr>
            <a:xfrm>
              <a:off x="363081" y="4802308"/>
              <a:ext cx="237868" cy="306660"/>
            </a:xfrm>
            <a:custGeom>
              <a:avLst/>
              <a:gdLst>
                <a:gd name="connsiteX0" fmla="*/ 0 w 237868"/>
                <a:gd name="connsiteY0" fmla="*/ 231873 h 306660"/>
                <a:gd name="connsiteX1" fmla="*/ 73779 w 237868"/>
                <a:gd name="connsiteY1" fmla="*/ 0 h 306660"/>
                <a:gd name="connsiteX2" fmla="*/ 237869 w 237868"/>
                <a:gd name="connsiteY2" fmla="*/ 306660 h 30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306660">
                  <a:moveTo>
                    <a:pt x="0" y="231873"/>
                  </a:moveTo>
                  <a:lnTo>
                    <a:pt x="73779" y="0"/>
                  </a:lnTo>
                  <a:lnTo>
                    <a:pt x="237869" y="30666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iṩḻïdè"/>
            <p:cNvSpPr/>
            <p:nvPr/>
          </p:nvSpPr>
          <p:spPr>
            <a:xfrm>
              <a:off x="1585195" y="6313129"/>
              <a:ext cx="262461" cy="314170"/>
            </a:xfrm>
            <a:custGeom>
              <a:avLst/>
              <a:gdLst>
                <a:gd name="connsiteX0" fmla="*/ 0 w 262461"/>
                <a:gd name="connsiteY0" fmla="*/ 194479 h 314170"/>
                <a:gd name="connsiteX1" fmla="*/ 262462 w 262461"/>
                <a:gd name="connsiteY1" fmla="*/ 314171 h 314170"/>
                <a:gd name="connsiteX2" fmla="*/ 114845 w 262461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461" h="314170">
                  <a:moveTo>
                    <a:pt x="0" y="194479"/>
                  </a:moveTo>
                  <a:lnTo>
                    <a:pt x="262462" y="314171"/>
                  </a:lnTo>
                  <a:lnTo>
                    <a:pt x="114845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iśľíḓê"/>
            <p:cNvSpPr/>
            <p:nvPr/>
          </p:nvSpPr>
          <p:spPr>
            <a:xfrm>
              <a:off x="2028161" y="5759682"/>
              <a:ext cx="1131920" cy="755437"/>
            </a:xfrm>
            <a:custGeom>
              <a:avLst/>
              <a:gdLst>
                <a:gd name="connsiteX0" fmla="*/ 0 w 1131920"/>
                <a:gd name="connsiteY0" fmla="*/ 613320 h 755437"/>
                <a:gd name="connsiteX1" fmla="*/ 1131921 w 1131920"/>
                <a:gd name="connsiteY1" fmla="*/ 0 h 755437"/>
                <a:gd name="connsiteX2" fmla="*/ 836629 w 1131920"/>
                <a:gd name="connsiteY2" fmla="*/ 755437 h 75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1920" h="755437">
                  <a:moveTo>
                    <a:pt x="0" y="613320"/>
                  </a:moveTo>
                  <a:lnTo>
                    <a:pt x="1131921" y="0"/>
                  </a:lnTo>
                  <a:lnTo>
                    <a:pt x="836629" y="755437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îŝļiḓé"/>
            <p:cNvSpPr/>
            <p:nvPr/>
          </p:nvSpPr>
          <p:spPr>
            <a:xfrm>
              <a:off x="1864072" y="6582396"/>
              <a:ext cx="1058141" cy="747979"/>
            </a:xfrm>
            <a:custGeom>
              <a:avLst/>
              <a:gdLst>
                <a:gd name="connsiteX0" fmla="*/ 0 w 1058141"/>
                <a:gd name="connsiteY0" fmla="*/ 388958 h 747979"/>
                <a:gd name="connsiteX1" fmla="*/ 623412 w 1058141"/>
                <a:gd name="connsiteY1" fmla="*/ 0 h 747979"/>
                <a:gd name="connsiteX2" fmla="*/ 1058142 w 1058141"/>
                <a:gd name="connsiteY2" fmla="*/ 747980 h 747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141" h="747979">
                  <a:moveTo>
                    <a:pt x="0" y="388958"/>
                  </a:moveTo>
                  <a:lnTo>
                    <a:pt x="623412" y="0"/>
                  </a:lnTo>
                  <a:lnTo>
                    <a:pt x="1058142" y="74798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îšľïďê"/>
            <p:cNvSpPr/>
            <p:nvPr/>
          </p:nvSpPr>
          <p:spPr>
            <a:xfrm>
              <a:off x="3184675" y="5976586"/>
              <a:ext cx="582345" cy="882586"/>
            </a:xfrm>
            <a:custGeom>
              <a:avLst/>
              <a:gdLst>
                <a:gd name="connsiteX0" fmla="*/ 0 w 582345"/>
                <a:gd name="connsiteY0" fmla="*/ 388905 h 882586"/>
                <a:gd name="connsiteX1" fmla="*/ 295291 w 582345"/>
                <a:gd name="connsiteY1" fmla="*/ 882586 h 882586"/>
                <a:gd name="connsiteX2" fmla="*/ 582346 w 582345"/>
                <a:gd name="connsiteY2" fmla="*/ 0 h 88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2345" h="882586">
                  <a:moveTo>
                    <a:pt x="0" y="388905"/>
                  </a:moveTo>
                  <a:lnTo>
                    <a:pt x="295291" y="882586"/>
                  </a:lnTo>
                  <a:lnTo>
                    <a:pt x="582346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ïsliḓé"/>
            <p:cNvSpPr/>
            <p:nvPr/>
          </p:nvSpPr>
          <p:spPr>
            <a:xfrm>
              <a:off x="3028822" y="6582396"/>
              <a:ext cx="237868" cy="209447"/>
            </a:xfrm>
            <a:custGeom>
              <a:avLst/>
              <a:gdLst>
                <a:gd name="connsiteX0" fmla="*/ 0 w 237868"/>
                <a:gd name="connsiteY0" fmla="*/ 164543 h 209447"/>
                <a:gd name="connsiteX1" fmla="*/ 57422 w 237868"/>
                <a:gd name="connsiteY1" fmla="*/ 0 h 209447"/>
                <a:gd name="connsiteX2" fmla="*/ 237868 w 237868"/>
                <a:gd name="connsiteY2" fmla="*/ 209447 h 20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868" h="209447">
                  <a:moveTo>
                    <a:pt x="0" y="164543"/>
                  </a:moveTo>
                  <a:lnTo>
                    <a:pt x="57422" y="0"/>
                  </a:lnTo>
                  <a:lnTo>
                    <a:pt x="237868" y="209447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íśľiďè"/>
            <p:cNvSpPr/>
            <p:nvPr/>
          </p:nvSpPr>
          <p:spPr>
            <a:xfrm>
              <a:off x="1642618" y="3807541"/>
              <a:ext cx="803858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íśļîdè"/>
            <p:cNvSpPr/>
            <p:nvPr/>
          </p:nvSpPr>
          <p:spPr>
            <a:xfrm>
              <a:off x="1642618" y="4435829"/>
              <a:ext cx="139438" cy="216904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îṩḻiḓè"/>
            <p:cNvSpPr/>
            <p:nvPr/>
          </p:nvSpPr>
          <p:spPr>
            <a:xfrm>
              <a:off x="1894097" y="4323595"/>
              <a:ext cx="391151" cy="433809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íṧḻîḋe"/>
            <p:cNvSpPr/>
            <p:nvPr/>
          </p:nvSpPr>
          <p:spPr>
            <a:xfrm>
              <a:off x="207228" y="3089497"/>
              <a:ext cx="639768" cy="949916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í$ļïdê"/>
            <p:cNvSpPr/>
            <p:nvPr/>
          </p:nvSpPr>
          <p:spPr>
            <a:xfrm>
              <a:off x="-284923" y="3829966"/>
              <a:ext cx="1271358" cy="1054586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iṧļïdè"/>
            <p:cNvSpPr/>
            <p:nvPr/>
          </p:nvSpPr>
          <p:spPr>
            <a:xfrm>
              <a:off x="203665" y="4121658"/>
              <a:ext cx="1401450" cy="1391183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íṥḷíḓè"/>
            <p:cNvSpPr/>
            <p:nvPr/>
          </p:nvSpPr>
          <p:spPr>
            <a:xfrm>
              <a:off x="-153663" y="1795580"/>
              <a:ext cx="918645" cy="1383672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işḷiḋè"/>
            <p:cNvSpPr/>
            <p:nvPr/>
          </p:nvSpPr>
          <p:spPr>
            <a:xfrm>
              <a:off x="666550" y="2752954"/>
              <a:ext cx="489523" cy="785320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iṣlîďê"/>
            <p:cNvSpPr/>
            <p:nvPr/>
          </p:nvSpPr>
          <p:spPr>
            <a:xfrm>
              <a:off x="838818" y="3882328"/>
              <a:ext cx="393663" cy="186968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îš1íḑé"/>
            <p:cNvSpPr/>
            <p:nvPr/>
          </p:nvSpPr>
          <p:spPr>
            <a:xfrm>
              <a:off x="469689" y="5841927"/>
              <a:ext cx="164031" cy="291691"/>
            </a:xfrm>
            <a:custGeom>
              <a:avLst/>
              <a:gdLst>
                <a:gd name="connsiteX0" fmla="*/ 0 w 164031"/>
                <a:gd name="connsiteY0" fmla="*/ 224415 h 291691"/>
                <a:gd name="connsiteX1" fmla="*/ 57423 w 164031"/>
                <a:gd name="connsiteY1" fmla="*/ 0 h 291691"/>
                <a:gd name="connsiteX2" fmla="*/ 164031 w 164031"/>
                <a:gd name="connsiteY2" fmla="*/ 291692 h 29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031" h="291691">
                  <a:moveTo>
                    <a:pt x="0" y="224415"/>
                  </a:moveTo>
                  <a:lnTo>
                    <a:pt x="57423" y="0"/>
                  </a:lnTo>
                  <a:lnTo>
                    <a:pt x="164031" y="291692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îṩlîḑè"/>
            <p:cNvSpPr/>
            <p:nvPr/>
          </p:nvSpPr>
          <p:spPr>
            <a:xfrm>
              <a:off x="912597" y="2386421"/>
              <a:ext cx="147674" cy="314170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ïŝľíďe"/>
            <p:cNvSpPr/>
            <p:nvPr/>
          </p:nvSpPr>
          <p:spPr>
            <a:xfrm>
              <a:off x="641957" y="1204686"/>
              <a:ext cx="861222" cy="1181735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îS1îḍè"/>
            <p:cNvSpPr/>
            <p:nvPr/>
          </p:nvSpPr>
          <p:spPr>
            <a:xfrm>
              <a:off x="2159363" y="4742489"/>
              <a:ext cx="295291" cy="321575"/>
            </a:xfrm>
            <a:custGeom>
              <a:avLst/>
              <a:gdLst>
                <a:gd name="connsiteX0" fmla="*/ 0 w 295291"/>
                <a:gd name="connsiteY0" fmla="*/ 321575 h 321575"/>
                <a:gd name="connsiteX1" fmla="*/ 295291 w 295291"/>
                <a:gd name="connsiteY1" fmla="*/ 269213 h 321575"/>
                <a:gd name="connsiteX2" fmla="*/ 98430 w 295291"/>
                <a:gd name="connsiteY2" fmla="*/ 0 h 32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5291" h="321575">
                  <a:moveTo>
                    <a:pt x="0" y="321575"/>
                  </a:moveTo>
                  <a:lnTo>
                    <a:pt x="295291" y="269213"/>
                  </a:lnTo>
                  <a:lnTo>
                    <a:pt x="9843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íṡḻiďè"/>
            <p:cNvSpPr/>
            <p:nvPr/>
          </p:nvSpPr>
          <p:spPr>
            <a:xfrm rot="6848855">
              <a:off x="1365225" y="3054362"/>
              <a:ext cx="523885" cy="396415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35" name="图片 34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îšliḍe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ṣľïdé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ṧḷïḑ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iṧļiḍé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íṣ1îḋ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íşľîḍ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śḻíďè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ṡlîḍè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ïṣļïḍ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îṡľíďê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ïŝľíḑe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iŝľîḋ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ctrTitle" hasCustomPrompt="1"/>
          </p:nvPr>
        </p:nvSpPr>
        <p:spPr>
          <a:xfrm>
            <a:off x="581025" y="1591379"/>
            <a:ext cx="11191691" cy="2516164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07188" y="5944192"/>
            <a:ext cx="4914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581025" y="5944192"/>
            <a:ext cx="4914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8161998" y="-667399"/>
            <a:ext cx="4791131" cy="5788739"/>
            <a:chOff x="8161998" y="-667399"/>
            <a:chExt cx="4791131" cy="5788739"/>
          </a:xfrm>
        </p:grpSpPr>
        <p:sp>
          <p:nvSpPr>
            <p:cNvPr id="8" name="îṩḻîḋe"/>
            <p:cNvSpPr/>
            <p:nvPr/>
          </p:nvSpPr>
          <p:spPr>
            <a:xfrm>
              <a:off x="10522824" y="-667399"/>
              <a:ext cx="1249892" cy="1234657"/>
            </a:xfrm>
            <a:custGeom>
              <a:avLst/>
              <a:gdLst>
                <a:gd name="connsiteX0" fmla="*/ 1249893 w 1249892"/>
                <a:gd name="connsiteY0" fmla="*/ 1234658 h 1234657"/>
                <a:gd name="connsiteX1" fmla="*/ 833262 w 1249892"/>
                <a:gd name="connsiteY1" fmla="*/ 0 h 1234657"/>
                <a:gd name="connsiteX2" fmla="*/ 0 w 1249892"/>
                <a:gd name="connsiteY2" fmla="*/ 870585 h 123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892" h="1234657">
                  <a:moveTo>
                    <a:pt x="1249893" y="1234658"/>
                  </a:moveTo>
                  <a:lnTo>
                    <a:pt x="833262" y="0"/>
                  </a:lnTo>
                  <a:lnTo>
                    <a:pt x="0" y="87058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ş1iḑè"/>
            <p:cNvSpPr/>
            <p:nvPr/>
          </p:nvSpPr>
          <p:spPr>
            <a:xfrm>
              <a:off x="11633819" y="139886"/>
              <a:ext cx="1319310" cy="1614626"/>
            </a:xfrm>
            <a:custGeom>
              <a:avLst/>
              <a:gdLst>
                <a:gd name="connsiteX0" fmla="*/ 1319311 w 1319310"/>
                <a:gd name="connsiteY0" fmla="*/ 1614627 h 1614626"/>
                <a:gd name="connsiteX1" fmla="*/ 555529 w 1319310"/>
                <a:gd name="connsiteY1" fmla="*/ 0 h 1614626"/>
                <a:gd name="connsiteX2" fmla="*/ 0 w 1319310"/>
                <a:gd name="connsiteY2" fmla="*/ 1519648 h 1614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19310" h="1614626">
                  <a:moveTo>
                    <a:pt x="1319311" y="1614627"/>
                  </a:moveTo>
                  <a:lnTo>
                    <a:pt x="555529" y="0"/>
                  </a:lnTo>
                  <a:lnTo>
                    <a:pt x="0" y="1519648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iṩľîḋé"/>
            <p:cNvSpPr/>
            <p:nvPr/>
          </p:nvSpPr>
          <p:spPr>
            <a:xfrm>
              <a:off x="10158303" y="472337"/>
              <a:ext cx="1232523" cy="759767"/>
            </a:xfrm>
            <a:custGeom>
              <a:avLst/>
              <a:gdLst>
                <a:gd name="connsiteX0" fmla="*/ 1232523 w 1232523"/>
                <a:gd name="connsiteY0" fmla="*/ 759768 h 759767"/>
                <a:gd name="connsiteX1" fmla="*/ 833262 w 1232523"/>
                <a:gd name="connsiteY1" fmla="*/ 0 h 759767"/>
                <a:gd name="connsiteX2" fmla="*/ 0 w 1232523"/>
                <a:gd name="connsiteY2" fmla="*/ 395695 h 759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2523" h="759767">
                  <a:moveTo>
                    <a:pt x="1232523" y="759768"/>
                  </a:moveTo>
                  <a:lnTo>
                    <a:pt x="833262" y="0"/>
                  </a:lnTo>
                  <a:lnTo>
                    <a:pt x="0" y="3956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ïṥḷiďê"/>
            <p:cNvSpPr/>
            <p:nvPr/>
          </p:nvSpPr>
          <p:spPr>
            <a:xfrm>
              <a:off x="9515986" y="1184644"/>
              <a:ext cx="833261" cy="728146"/>
            </a:xfrm>
            <a:custGeom>
              <a:avLst/>
              <a:gdLst>
                <a:gd name="connsiteX0" fmla="*/ 833262 w 833261"/>
                <a:gd name="connsiteY0" fmla="*/ 728146 h 728146"/>
                <a:gd name="connsiteX1" fmla="*/ 642317 w 833261"/>
                <a:gd name="connsiteY1" fmla="*/ 0 h 728146"/>
                <a:gd name="connsiteX2" fmla="*/ 0 w 833261"/>
                <a:gd name="connsiteY2" fmla="*/ 269095 h 7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3261" h="728146">
                  <a:moveTo>
                    <a:pt x="833262" y="728146"/>
                  </a:moveTo>
                  <a:lnTo>
                    <a:pt x="642317" y="0"/>
                  </a:lnTo>
                  <a:lnTo>
                    <a:pt x="0" y="269095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ïSľïďe"/>
            <p:cNvSpPr/>
            <p:nvPr/>
          </p:nvSpPr>
          <p:spPr>
            <a:xfrm>
              <a:off x="9429199" y="994688"/>
              <a:ext cx="190945" cy="316555"/>
            </a:xfrm>
            <a:custGeom>
              <a:avLst/>
              <a:gdLst>
                <a:gd name="connsiteX0" fmla="*/ 190946 w 190945"/>
                <a:gd name="connsiteY0" fmla="*/ 0 h 316555"/>
                <a:gd name="connsiteX1" fmla="*/ 17370 w 190945"/>
                <a:gd name="connsiteY1" fmla="*/ 316556 h 316555"/>
                <a:gd name="connsiteX2" fmla="*/ 0 w 190945"/>
                <a:gd name="connsiteY2" fmla="*/ 31622 h 3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945" h="316555">
                  <a:moveTo>
                    <a:pt x="190946" y="0"/>
                  </a:moveTo>
                  <a:lnTo>
                    <a:pt x="17370" y="316556"/>
                  </a:lnTo>
                  <a:lnTo>
                    <a:pt x="0" y="3162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ṩľïďe"/>
            <p:cNvSpPr/>
            <p:nvPr/>
          </p:nvSpPr>
          <p:spPr>
            <a:xfrm>
              <a:off x="11512353" y="1817812"/>
              <a:ext cx="251709" cy="324503"/>
            </a:xfrm>
            <a:custGeom>
              <a:avLst/>
              <a:gdLst>
                <a:gd name="connsiteX0" fmla="*/ 251709 w 251709"/>
                <a:gd name="connsiteY0" fmla="*/ 79139 h 324503"/>
                <a:gd name="connsiteX1" fmla="*/ 173576 w 251709"/>
                <a:gd name="connsiteY1" fmla="*/ 324504 h 324503"/>
                <a:gd name="connsiteX2" fmla="*/ 0 w 251709"/>
                <a:gd name="connsiteY2" fmla="*/ 0 h 324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324503">
                  <a:moveTo>
                    <a:pt x="251709" y="79139"/>
                  </a:moveTo>
                  <a:lnTo>
                    <a:pt x="173576" y="3245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í$ľidê"/>
            <p:cNvSpPr/>
            <p:nvPr/>
          </p:nvSpPr>
          <p:spPr>
            <a:xfrm>
              <a:off x="10193043" y="211133"/>
              <a:ext cx="277733" cy="332394"/>
            </a:xfrm>
            <a:custGeom>
              <a:avLst/>
              <a:gdLst>
                <a:gd name="connsiteX0" fmla="*/ 277733 w 277733"/>
                <a:gd name="connsiteY0" fmla="*/ 126600 h 332394"/>
                <a:gd name="connsiteX1" fmla="*/ 0 w 277733"/>
                <a:gd name="connsiteY1" fmla="*/ 0 h 332394"/>
                <a:gd name="connsiteX2" fmla="*/ 156206 w 277733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7733" h="332394">
                  <a:moveTo>
                    <a:pt x="277733" y="126600"/>
                  </a:moveTo>
                  <a:lnTo>
                    <a:pt x="0" y="0"/>
                  </a:lnTo>
                  <a:lnTo>
                    <a:pt x="156206" y="332395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iṣľïḋe"/>
            <p:cNvSpPr/>
            <p:nvPr/>
          </p:nvSpPr>
          <p:spPr>
            <a:xfrm>
              <a:off x="8804314" y="329842"/>
              <a:ext cx="1197783" cy="799393"/>
            </a:xfrm>
            <a:custGeom>
              <a:avLst/>
              <a:gdLst>
                <a:gd name="connsiteX0" fmla="*/ 1197783 w 1197783"/>
                <a:gd name="connsiteY0" fmla="*/ 150387 h 799393"/>
                <a:gd name="connsiteX1" fmla="*/ 0 w 1197783"/>
                <a:gd name="connsiteY1" fmla="*/ 799394 h 799393"/>
                <a:gd name="connsiteX2" fmla="*/ 312411 w 1197783"/>
                <a:gd name="connsiteY2" fmla="*/ 0 h 79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7783" h="799393">
                  <a:moveTo>
                    <a:pt x="1197783" y="150387"/>
                  </a:moveTo>
                  <a:lnTo>
                    <a:pt x="0" y="799394"/>
                  </a:lnTo>
                  <a:lnTo>
                    <a:pt x="312411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š1íḋè"/>
            <p:cNvSpPr/>
            <p:nvPr/>
          </p:nvSpPr>
          <p:spPr>
            <a:xfrm>
              <a:off x="9056023" y="-532851"/>
              <a:ext cx="1119649" cy="791445"/>
            </a:xfrm>
            <a:custGeom>
              <a:avLst/>
              <a:gdLst>
                <a:gd name="connsiteX0" fmla="*/ 1119649 w 1119649"/>
                <a:gd name="connsiteY0" fmla="*/ 379912 h 791445"/>
                <a:gd name="connsiteX1" fmla="*/ 459963 w 1119649"/>
                <a:gd name="connsiteY1" fmla="*/ 791446 h 791445"/>
                <a:gd name="connsiteX2" fmla="*/ 0 w 1119649"/>
                <a:gd name="connsiteY2" fmla="*/ 0 h 79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649" h="791445">
                  <a:moveTo>
                    <a:pt x="1119649" y="379912"/>
                  </a:moveTo>
                  <a:lnTo>
                    <a:pt x="459963" y="79144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ṥľïḓe"/>
            <p:cNvSpPr/>
            <p:nvPr/>
          </p:nvSpPr>
          <p:spPr>
            <a:xfrm>
              <a:off x="8161998" y="-34230"/>
              <a:ext cx="616230" cy="933941"/>
            </a:xfrm>
            <a:custGeom>
              <a:avLst/>
              <a:gdLst>
                <a:gd name="connsiteX0" fmla="*/ 616231 w 616230"/>
                <a:gd name="connsiteY0" fmla="*/ 522351 h 933941"/>
                <a:gd name="connsiteX1" fmla="*/ 303757 w 616230"/>
                <a:gd name="connsiteY1" fmla="*/ 0 h 933941"/>
                <a:gd name="connsiteX2" fmla="*/ 0 w 616230"/>
                <a:gd name="connsiteY2" fmla="*/ 933941 h 933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6230" h="933941">
                  <a:moveTo>
                    <a:pt x="616231" y="522351"/>
                  </a:moveTo>
                  <a:lnTo>
                    <a:pt x="303757" y="0"/>
                  </a:lnTo>
                  <a:lnTo>
                    <a:pt x="0" y="93394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ṣḻïḋe"/>
            <p:cNvSpPr/>
            <p:nvPr/>
          </p:nvSpPr>
          <p:spPr>
            <a:xfrm>
              <a:off x="8691440" y="37016"/>
              <a:ext cx="251709" cy="221577"/>
            </a:xfrm>
            <a:custGeom>
              <a:avLst/>
              <a:gdLst>
                <a:gd name="connsiteX0" fmla="*/ 251709 w 251709"/>
                <a:gd name="connsiteY0" fmla="*/ 47461 h 221577"/>
                <a:gd name="connsiteX1" fmla="*/ 190946 w 251709"/>
                <a:gd name="connsiteY1" fmla="*/ 221578 h 221577"/>
                <a:gd name="connsiteX2" fmla="*/ 0 w 251709"/>
                <a:gd name="connsiteY2" fmla="*/ 0 h 221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709" h="221577">
                  <a:moveTo>
                    <a:pt x="251709" y="47461"/>
                  </a:moveTo>
                  <a:lnTo>
                    <a:pt x="190946" y="22157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ïṩľide"/>
            <p:cNvSpPr/>
            <p:nvPr/>
          </p:nvSpPr>
          <p:spPr>
            <a:xfrm>
              <a:off x="9559442" y="2775483"/>
              <a:ext cx="850570" cy="419481"/>
            </a:xfrm>
            <a:custGeom>
              <a:avLst/>
              <a:gdLst>
                <a:gd name="connsiteX0" fmla="*/ 850570 w 850570"/>
                <a:gd name="connsiteY0" fmla="*/ 364073 h 419481"/>
                <a:gd name="connsiteX1" fmla="*/ 555467 w 850570"/>
                <a:gd name="connsiteY1" fmla="*/ 0 h 419481"/>
                <a:gd name="connsiteX2" fmla="*/ 0 w 850570"/>
                <a:gd name="connsiteY2" fmla="*/ 419481 h 41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0570" h="419481">
                  <a:moveTo>
                    <a:pt x="850570" y="364073"/>
                  </a:moveTo>
                  <a:lnTo>
                    <a:pt x="555467" y="0"/>
                  </a:lnTo>
                  <a:lnTo>
                    <a:pt x="0" y="419481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ŝļîďè"/>
            <p:cNvSpPr/>
            <p:nvPr/>
          </p:nvSpPr>
          <p:spPr>
            <a:xfrm>
              <a:off x="10262460" y="2300593"/>
              <a:ext cx="147551" cy="229525"/>
            </a:xfrm>
            <a:custGeom>
              <a:avLst/>
              <a:gdLst>
                <a:gd name="connsiteX0" fmla="*/ 147552 w 147551"/>
                <a:gd name="connsiteY0" fmla="*/ 174117 h 229525"/>
                <a:gd name="connsiteX1" fmla="*/ 121528 w 147551"/>
                <a:gd name="connsiteY1" fmla="*/ 0 h 229525"/>
                <a:gd name="connsiteX2" fmla="*/ 0 w 147551"/>
                <a:gd name="connsiteY2" fmla="*/ 229526 h 22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551" h="229525">
                  <a:moveTo>
                    <a:pt x="147552" y="174117"/>
                  </a:moveTo>
                  <a:lnTo>
                    <a:pt x="121528" y="0"/>
                  </a:lnTo>
                  <a:lnTo>
                    <a:pt x="0" y="229526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sḷíďe"/>
            <p:cNvSpPr/>
            <p:nvPr/>
          </p:nvSpPr>
          <p:spPr>
            <a:xfrm>
              <a:off x="9729989" y="2189776"/>
              <a:ext cx="413972" cy="459051"/>
            </a:xfrm>
            <a:custGeom>
              <a:avLst/>
              <a:gdLst>
                <a:gd name="connsiteX0" fmla="*/ 413973 w 413972"/>
                <a:gd name="connsiteY0" fmla="*/ 0 h 459051"/>
                <a:gd name="connsiteX1" fmla="*/ 313277 w 413972"/>
                <a:gd name="connsiteY1" fmla="*/ 438646 h 459051"/>
                <a:gd name="connsiteX2" fmla="*/ 0 w 413972"/>
                <a:gd name="connsiteY2" fmla="*/ 459051 h 45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3972" h="459051">
                  <a:moveTo>
                    <a:pt x="413973" y="0"/>
                  </a:moveTo>
                  <a:lnTo>
                    <a:pt x="313277" y="438646"/>
                  </a:lnTo>
                  <a:lnTo>
                    <a:pt x="0" y="459051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iṩlidè"/>
            <p:cNvSpPr/>
            <p:nvPr/>
          </p:nvSpPr>
          <p:spPr>
            <a:xfrm>
              <a:off x="11251928" y="2949600"/>
              <a:ext cx="676994" cy="1005132"/>
            </a:xfrm>
            <a:custGeom>
              <a:avLst/>
              <a:gdLst>
                <a:gd name="connsiteX0" fmla="*/ 676995 w 676994"/>
                <a:gd name="connsiteY0" fmla="*/ 0 h 1005132"/>
                <a:gd name="connsiteX1" fmla="*/ 607576 w 676994"/>
                <a:gd name="connsiteY1" fmla="*/ 1005132 h 1005132"/>
                <a:gd name="connsiteX2" fmla="*/ 0 w 676994"/>
                <a:gd name="connsiteY2" fmla="*/ 379912 h 100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994" h="1005132">
                  <a:moveTo>
                    <a:pt x="676995" y="0"/>
                  </a:moveTo>
                  <a:lnTo>
                    <a:pt x="607576" y="1005132"/>
                  </a:lnTo>
                  <a:lnTo>
                    <a:pt x="0" y="379912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ṩļíḍè"/>
            <p:cNvSpPr/>
            <p:nvPr/>
          </p:nvSpPr>
          <p:spPr>
            <a:xfrm>
              <a:off x="11104376" y="2055229"/>
              <a:ext cx="1345334" cy="1115949"/>
            </a:xfrm>
            <a:custGeom>
              <a:avLst/>
              <a:gdLst>
                <a:gd name="connsiteX0" fmla="*/ 1345335 w 1345334"/>
                <a:gd name="connsiteY0" fmla="*/ 1115950 h 1115949"/>
                <a:gd name="connsiteX1" fmla="*/ 0 w 1345334"/>
                <a:gd name="connsiteY1" fmla="*/ 538190 h 1115949"/>
                <a:gd name="connsiteX2" fmla="*/ 1050232 w 1345334"/>
                <a:gd name="connsiteY2" fmla="*/ 0 h 111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45334" h="1115949">
                  <a:moveTo>
                    <a:pt x="1345335" y="1115950"/>
                  </a:moveTo>
                  <a:lnTo>
                    <a:pt x="0" y="538190"/>
                  </a:lnTo>
                  <a:lnTo>
                    <a:pt x="1050232" y="0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iṡlíďê"/>
            <p:cNvSpPr/>
            <p:nvPr/>
          </p:nvSpPr>
          <p:spPr>
            <a:xfrm>
              <a:off x="10449697" y="1390383"/>
              <a:ext cx="1482996" cy="1472131"/>
            </a:xfrm>
            <a:custGeom>
              <a:avLst/>
              <a:gdLst>
                <a:gd name="connsiteX0" fmla="*/ 1482996 w 1482996"/>
                <a:gd name="connsiteY0" fmla="*/ 1198245 h 1472131"/>
                <a:gd name="connsiteX1" fmla="*/ 319087 w 1482996"/>
                <a:gd name="connsiteY1" fmla="*/ 0 h 1472131"/>
                <a:gd name="connsiteX2" fmla="*/ 0 w 1482996"/>
                <a:gd name="connsiteY2" fmla="*/ 1472131 h 147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82996" h="1472131">
                  <a:moveTo>
                    <a:pt x="1482996" y="1198245"/>
                  </a:moveTo>
                  <a:lnTo>
                    <a:pt x="319087" y="0"/>
                  </a:lnTo>
                  <a:lnTo>
                    <a:pt x="0" y="147213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  <a:tileRect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îṣḷïḋé"/>
            <p:cNvSpPr/>
            <p:nvPr/>
          </p:nvSpPr>
          <p:spPr>
            <a:xfrm>
              <a:off x="10253806" y="3337404"/>
              <a:ext cx="451309" cy="625276"/>
            </a:xfrm>
            <a:custGeom>
              <a:avLst/>
              <a:gdLst>
                <a:gd name="connsiteX0" fmla="*/ 451309 w 451309"/>
                <a:gd name="connsiteY0" fmla="*/ 118708 h 625276"/>
                <a:gd name="connsiteX1" fmla="*/ 0 w 451309"/>
                <a:gd name="connsiteY1" fmla="*/ 0 h 625276"/>
                <a:gd name="connsiteX2" fmla="*/ 147552 w 451309"/>
                <a:gd name="connsiteY2" fmla="*/ 625277 h 62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309" h="625276">
                  <a:moveTo>
                    <a:pt x="451309" y="118708"/>
                  </a:moveTo>
                  <a:lnTo>
                    <a:pt x="0" y="0"/>
                  </a:lnTo>
                  <a:lnTo>
                    <a:pt x="147552" y="625277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ïSļiḑé"/>
            <p:cNvSpPr/>
            <p:nvPr/>
          </p:nvSpPr>
          <p:spPr>
            <a:xfrm>
              <a:off x="10924867" y="3479899"/>
              <a:ext cx="518007" cy="831015"/>
            </a:xfrm>
            <a:custGeom>
              <a:avLst/>
              <a:gdLst>
                <a:gd name="connsiteX0" fmla="*/ 76712 w 518007"/>
                <a:gd name="connsiteY0" fmla="*/ 0 h 831015"/>
                <a:gd name="connsiteX1" fmla="*/ 518007 w 518007"/>
                <a:gd name="connsiteY1" fmla="*/ 271181 h 831015"/>
                <a:gd name="connsiteX2" fmla="*/ 0 w 518007"/>
                <a:gd name="connsiteY2" fmla="*/ 831015 h 831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8007" h="831015">
                  <a:moveTo>
                    <a:pt x="76712" y="0"/>
                  </a:moveTo>
                  <a:lnTo>
                    <a:pt x="518007" y="271181"/>
                  </a:lnTo>
                  <a:lnTo>
                    <a:pt x="0" y="831015"/>
                  </a:lnTo>
                  <a:close/>
                </a:path>
              </a:pathLst>
            </a:custGeom>
            <a:solidFill>
              <a:srgbClr val="4B4BFF"/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íṩḷïḓê"/>
            <p:cNvSpPr/>
            <p:nvPr/>
          </p:nvSpPr>
          <p:spPr>
            <a:xfrm>
              <a:off x="10844013" y="2917922"/>
              <a:ext cx="416630" cy="197903"/>
            </a:xfrm>
            <a:custGeom>
              <a:avLst/>
              <a:gdLst>
                <a:gd name="connsiteX0" fmla="*/ 260363 w 416630"/>
                <a:gd name="connsiteY0" fmla="*/ 197904 h 197903"/>
                <a:gd name="connsiteX1" fmla="*/ 416631 w 416630"/>
                <a:gd name="connsiteY1" fmla="*/ 0 h 197903"/>
                <a:gd name="connsiteX2" fmla="*/ 0 w 416630"/>
                <a:gd name="connsiteY2" fmla="*/ 39570 h 19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6630" h="197903">
                  <a:moveTo>
                    <a:pt x="260363" y="197904"/>
                  </a:moveTo>
                  <a:lnTo>
                    <a:pt x="416631" y="0"/>
                  </a:lnTo>
                  <a:lnTo>
                    <a:pt x="0" y="3957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ïŝľïḑé"/>
            <p:cNvSpPr/>
            <p:nvPr/>
          </p:nvSpPr>
          <p:spPr>
            <a:xfrm>
              <a:off x="11477614" y="733484"/>
              <a:ext cx="173575" cy="308664"/>
            </a:xfrm>
            <a:custGeom>
              <a:avLst/>
              <a:gdLst>
                <a:gd name="connsiteX0" fmla="*/ 173576 w 173575"/>
                <a:gd name="connsiteY0" fmla="*/ 71248 h 308664"/>
                <a:gd name="connsiteX1" fmla="*/ 112812 w 173575"/>
                <a:gd name="connsiteY1" fmla="*/ 308665 h 308664"/>
                <a:gd name="connsiteX2" fmla="*/ 0 w 173575"/>
                <a:gd name="connsiteY2" fmla="*/ 0 h 30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3575" h="308664">
                  <a:moveTo>
                    <a:pt x="173576" y="71248"/>
                  </a:moveTo>
                  <a:lnTo>
                    <a:pt x="112812" y="3086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îšliḓé"/>
            <p:cNvSpPr/>
            <p:nvPr/>
          </p:nvSpPr>
          <p:spPr>
            <a:xfrm>
              <a:off x="11026243" y="4366323"/>
              <a:ext cx="156267" cy="332394"/>
            </a:xfrm>
            <a:custGeom>
              <a:avLst/>
              <a:gdLst>
                <a:gd name="connsiteX0" fmla="*/ 156268 w 156267"/>
                <a:gd name="connsiteY0" fmla="*/ 87030 h 332394"/>
                <a:gd name="connsiteX1" fmla="*/ 17370 w 156267"/>
                <a:gd name="connsiteY1" fmla="*/ 0 h 332394"/>
                <a:gd name="connsiteX2" fmla="*/ 0 w 156267"/>
                <a:gd name="connsiteY2" fmla="*/ 332395 h 33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6267" h="332394">
                  <a:moveTo>
                    <a:pt x="156268" y="87030"/>
                  </a:moveTo>
                  <a:lnTo>
                    <a:pt x="17370" y="0"/>
                  </a:lnTo>
                  <a:lnTo>
                    <a:pt x="0" y="332395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iS1ïḓè"/>
            <p:cNvSpPr/>
            <p:nvPr/>
          </p:nvSpPr>
          <p:spPr>
            <a:xfrm rot="13369106">
              <a:off x="11555811" y="4167751"/>
              <a:ext cx="911395" cy="953589"/>
            </a:xfrm>
            <a:custGeom>
              <a:avLst/>
              <a:gdLst>
                <a:gd name="connsiteX0" fmla="*/ 911396 w 911395"/>
                <a:gd name="connsiteY0" fmla="*/ 340343 h 1250553"/>
                <a:gd name="connsiteX1" fmla="*/ 0 w 911395"/>
                <a:gd name="connsiteY1" fmla="*/ 0 h 1250553"/>
                <a:gd name="connsiteX2" fmla="*/ 772498 w 911395"/>
                <a:gd name="connsiteY2" fmla="*/ 1250553 h 1250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1395" h="1250553">
                  <a:moveTo>
                    <a:pt x="911396" y="340343"/>
                  </a:moveTo>
                  <a:lnTo>
                    <a:pt x="0" y="0"/>
                  </a:lnTo>
                  <a:lnTo>
                    <a:pt x="772498" y="1250553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íslîḋe"/>
            <p:cNvSpPr/>
            <p:nvPr/>
          </p:nvSpPr>
          <p:spPr>
            <a:xfrm>
              <a:off x="9550726" y="1865273"/>
              <a:ext cx="312473" cy="340342"/>
            </a:xfrm>
            <a:custGeom>
              <a:avLst/>
              <a:gdLst>
                <a:gd name="connsiteX0" fmla="*/ 312473 w 312473"/>
                <a:gd name="connsiteY0" fmla="*/ 0 h 340342"/>
                <a:gd name="connsiteX1" fmla="*/ 0 w 312473"/>
                <a:gd name="connsiteY1" fmla="*/ 55408 h 340342"/>
                <a:gd name="connsiteX2" fmla="*/ 208315 w 312473"/>
                <a:gd name="connsiteY2" fmla="*/ 340343 h 34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473" h="340342">
                  <a:moveTo>
                    <a:pt x="312473" y="0"/>
                  </a:moveTo>
                  <a:lnTo>
                    <a:pt x="0" y="55408"/>
                  </a:lnTo>
                  <a:lnTo>
                    <a:pt x="208315" y="340343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61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85185" y="6012617"/>
            <a:ext cx="373763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79554" y="4566299"/>
            <a:ext cx="11054265" cy="558799"/>
          </a:xfrm>
          <a:prstGeom prst="rect">
            <a:avLst/>
          </a:prstGeom>
          <a:noFill/>
        </p:spPr>
        <p:txBody>
          <a:bodyPr tIns="0" bIns="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79003" y="2316184"/>
            <a:ext cx="11054816" cy="164407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9003" y="6012617"/>
            <a:ext cx="393856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/>
          <a:srcRect t="11682" r="15717" b="-3961"/>
          <a:stretch>
            <a:fillRect/>
          </a:stretch>
        </p:blipFill>
        <p:spPr>
          <a:xfrm>
            <a:off x="8153654" y="0"/>
            <a:ext cx="4038346" cy="551284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/>
          <a:srcRect l="17479" b="7261"/>
          <a:stretch>
            <a:fillRect/>
          </a:stretch>
        </p:blipFill>
        <p:spPr>
          <a:xfrm>
            <a:off x="0" y="1057669"/>
            <a:ext cx="3737639" cy="580033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570641" y="3792642"/>
            <a:ext cx="4617356" cy="516164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6570641" y="2557076"/>
            <a:ext cx="4617356" cy="11557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924187" y="2106713"/>
            <a:ext cx="3228712" cy="2906067"/>
            <a:chOff x="-875931" y="2538513"/>
            <a:chExt cx="2823626" cy="2906067"/>
          </a:xfrm>
        </p:grpSpPr>
        <p:sp>
          <p:nvSpPr>
            <p:cNvPr id="17" name="ïṣḻïḓê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ï$ļiḍe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îṣ1íḓé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śľiḑe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ṧľíḓê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23" name="iṩlïḓe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ïṣḻîďê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îş1ïď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îṩļíḋè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iš1ïḓ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îṩľîdê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ïṣḻiḑe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7" Type="http://schemas.openxmlformats.org/officeDocument/2006/relationships/theme" Target="../theme/theme2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1234868" y="514547"/>
            <a:ext cx="571238" cy="514154"/>
            <a:chOff x="-875931" y="2538513"/>
            <a:chExt cx="2823626" cy="2906067"/>
          </a:xfrm>
        </p:grpSpPr>
        <p:sp>
          <p:nvSpPr>
            <p:cNvPr id="12" name="ïṩļïďé"/>
            <p:cNvSpPr/>
            <p:nvPr/>
          </p:nvSpPr>
          <p:spPr>
            <a:xfrm>
              <a:off x="1268855" y="4375194"/>
              <a:ext cx="678840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ïṧļiḑè"/>
            <p:cNvSpPr/>
            <p:nvPr/>
          </p:nvSpPr>
          <p:spPr>
            <a:xfrm>
              <a:off x="1268855" y="4905770"/>
              <a:ext cx="117752" cy="183171"/>
            </a:xfrm>
            <a:custGeom>
              <a:avLst/>
              <a:gdLst>
                <a:gd name="connsiteX0" fmla="*/ 0 w 139438"/>
                <a:gd name="connsiteY0" fmla="*/ 52308 h 216904"/>
                <a:gd name="connsiteX1" fmla="*/ 24593 w 139438"/>
                <a:gd name="connsiteY1" fmla="*/ 216904 h 216904"/>
                <a:gd name="connsiteX2" fmla="*/ 139438 w 139438"/>
                <a:gd name="connsiteY2" fmla="*/ 0 h 216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38" h="216904">
                  <a:moveTo>
                    <a:pt x="0" y="52308"/>
                  </a:moveTo>
                  <a:lnTo>
                    <a:pt x="24593" y="216904"/>
                  </a:lnTo>
                  <a:lnTo>
                    <a:pt x="139438" y="0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ïṡḷîďè"/>
            <p:cNvSpPr/>
            <p:nvPr/>
          </p:nvSpPr>
          <p:spPr>
            <a:xfrm>
              <a:off x="1481223" y="4810990"/>
              <a:ext cx="330318" cy="366342"/>
            </a:xfrm>
            <a:custGeom>
              <a:avLst/>
              <a:gdLst>
                <a:gd name="connsiteX0" fmla="*/ 0 w 391151"/>
                <a:gd name="connsiteY0" fmla="*/ 433809 h 433809"/>
                <a:gd name="connsiteX1" fmla="*/ 95101 w 391151"/>
                <a:gd name="connsiteY1" fmla="*/ 19283 h 433809"/>
                <a:gd name="connsiteX2" fmla="*/ 391151 w 391151"/>
                <a:gd name="connsiteY2" fmla="*/ 0 h 43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1151" h="433809">
                  <a:moveTo>
                    <a:pt x="0" y="433809"/>
                  </a:moveTo>
                  <a:lnTo>
                    <a:pt x="95101" y="19283"/>
                  </a:lnTo>
                  <a:lnTo>
                    <a:pt x="391151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íṥḻiďê"/>
            <p:cNvSpPr/>
            <p:nvPr/>
          </p:nvSpPr>
          <p:spPr>
            <a:xfrm>
              <a:off x="56700" y="3768822"/>
              <a:ext cx="540270" cy="802183"/>
            </a:xfrm>
            <a:custGeom>
              <a:avLst/>
              <a:gdLst>
                <a:gd name="connsiteX0" fmla="*/ 0 w 639768"/>
                <a:gd name="connsiteY0" fmla="*/ 949916 h 949916"/>
                <a:gd name="connsiteX1" fmla="*/ 65601 w 639768"/>
                <a:gd name="connsiteY1" fmla="*/ 0 h 949916"/>
                <a:gd name="connsiteX2" fmla="*/ 639768 w 639768"/>
                <a:gd name="connsiteY2" fmla="*/ 590895 h 94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9768" h="949916">
                  <a:moveTo>
                    <a:pt x="0" y="949916"/>
                  </a:moveTo>
                  <a:lnTo>
                    <a:pt x="65601" y="0"/>
                  </a:lnTo>
                  <a:lnTo>
                    <a:pt x="639768" y="59089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ṧľiďe"/>
            <p:cNvSpPr/>
            <p:nvPr/>
          </p:nvSpPr>
          <p:spPr>
            <a:xfrm>
              <a:off x="-875931" y="4271281"/>
              <a:ext cx="973835" cy="807790"/>
            </a:xfrm>
            <a:custGeom>
              <a:avLst/>
              <a:gdLst>
                <a:gd name="connsiteX0" fmla="*/ 0 w 1271358"/>
                <a:gd name="connsiteY0" fmla="*/ 0 h 1054586"/>
                <a:gd name="connsiteX1" fmla="*/ 1271359 w 1271358"/>
                <a:gd name="connsiteY1" fmla="*/ 545990 h 1054586"/>
                <a:gd name="connsiteX2" fmla="*/ 278876 w 1271358"/>
                <a:gd name="connsiteY2" fmla="*/ 1054587 h 105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1358" h="1054586">
                  <a:moveTo>
                    <a:pt x="0" y="0"/>
                  </a:moveTo>
                  <a:lnTo>
                    <a:pt x="1271359" y="545990"/>
                  </a:lnTo>
                  <a:lnTo>
                    <a:pt x="278876" y="1054587"/>
                  </a:lnTo>
                  <a:close/>
                </a:path>
              </a:pathLst>
            </a:custGeom>
            <a:solidFill>
              <a:srgbClr val="4B4BFF">
                <a:alpha val="50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dirty="0"/>
            </a:p>
          </p:txBody>
        </p:sp>
        <p:sp>
          <p:nvSpPr>
            <p:cNvPr id="17" name="íšlíḋè"/>
            <p:cNvSpPr/>
            <p:nvPr/>
          </p:nvSpPr>
          <p:spPr>
            <a:xfrm>
              <a:off x="425306" y="4662762"/>
              <a:ext cx="787590" cy="781818"/>
            </a:xfrm>
            <a:custGeom>
              <a:avLst/>
              <a:gdLst>
                <a:gd name="connsiteX0" fmla="*/ 0 w 1401450"/>
                <a:gd name="connsiteY0" fmla="*/ 258826 h 1391183"/>
                <a:gd name="connsiteX1" fmla="*/ 1099909 w 1401450"/>
                <a:gd name="connsiteY1" fmla="*/ 1391183 h 1391183"/>
                <a:gd name="connsiteX2" fmla="*/ 1401451 w 1401450"/>
                <a:gd name="connsiteY2" fmla="*/ 0 h 139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1450" h="1391183">
                  <a:moveTo>
                    <a:pt x="0" y="258826"/>
                  </a:moveTo>
                  <a:lnTo>
                    <a:pt x="1099909" y="1391183"/>
                  </a:lnTo>
                  <a:lnTo>
                    <a:pt x="1401451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iṩlîḑe"/>
            <p:cNvSpPr/>
            <p:nvPr/>
          </p:nvSpPr>
          <p:spPr>
            <a:xfrm>
              <a:off x="-227298" y="3037488"/>
              <a:ext cx="594584" cy="895568"/>
            </a:xfrm>
            <a:custGeom>
              <a:avLst/>
              <a:gdLst>
                <a:gd name="connsiteX0" fmla="*/ 0 w 918645"/>
                <a:gd name="connsiteY0" fmla="*/ 1383672 h 1383672"/>
                <a:gd name="connsiteX1" fmla="*/ 172209 w 918645"/>
                <a:gd name="connsiteY1" fmla="*/ 0 h 1383672"/>
                <a:gd name="connsiteX2" fmla="*/ 918645 w 918645"/>
                <a:gd name="connsiteY2" fmla="*/ 807746 h 138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8645" h="1383672">
                  <a:moveTo>
                    <a:pt x="0" y="1383672"/>
                  </a:moveTo>
                  <a:lnTo>
                    <a:pt x="172209" y="0"/>
                  </a:lnTo>
                  <a:lnTo>
                    <a:pt x="918645" y="807746"/>
                  </a:lnTo>
                  <a:close/>
                </a:path>
              </a:pathLst>
            </a:custGeom>
            <a:gradFill>
              <a:gsLst>
                <a:gs pos="0">
                  <a:srgbClr val="4B4BFF">
                    <a:alpha val="50000"/>
                  </a:srgbClr>
                </a:gs>
                <a:gs pos="100000">
                  <a:srgbClr val="4B4BFF">
                    <a:alpha val="0"/>
                  </a:srgbClr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ís1îḋe"/>
            <p:cNvSpPr/>
            <p:nvPr/>
          </p:nvSpPr>
          <p:spPr>
            <a:xfrm>
              <a:off x="444587" y="3484619"/>
              <a:ext cx="413391" cy="663185"/>
            </a:xfrm>
            <a:custGeom>
              <a:avLst/>
              <a:gdLst>
                <a:gd name="connsiteX0" fmla="*/ 417029 w 489523"/>
                <a:gd name="connsiteY0" fmla="*/ 785320 h 785320"/>
                <a:gd name="connsiteX1" fmla="*/ 0 w 489523"/>
                <a:gd name="connsiteY1" fmla="*/ 529051 h 785320"/>
                <a:gd name="connsiteX2" fmla="*/ 489523 w 489523"/>
                <a:gd name="connsiteY2" fmla="*/ 0 h 785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9523" h="785320">
                  <a:moveTo>
                    <a:pt x="417029" y="785320"/>
                  </a:moveTo>
                  <a:lnTo>
                    <a:pt x="0" y="529051"/>
                  </a:lnTo>
                  <a:lnTo>
                    <a:pt x="489523" y="0"/>
                  </a:lnTo>
                  <a:close/>
                </a:path>
              </a:pathLst>
            </a:custGeom>
            <a:solidFill>
              <a:srgbClr val="4B4BFF"/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ïṧľîḓê"/>
            <p:cNvSpPr/>
            <p:nvPr/>
          </p:nvSpPr>
          <p:spPr>
            <a:xfrm>
              <a:off x="590063" y="4438350"/>
              <a:ext cx="332440" cy="157890"/>
            </a:xfrm>
            <a:custGeom>
              <a:avLst/>
              <a:gdLst>
                <a:gd name="connsiteX0" fmla="*/ 147616 w 393663"/>
                <a:gd name="connsiteY0" fmla="*/ 0 h 186968"/>
                <a:gd name="connsiteX1" fmla="*/ 0 w 393663"/>
                <a:gd name="connsiteY1" fmla="*/ 186969 h 186968"/>
                <a:gd name="connsiteX2" fmla="*/ 393663 w 393663"/>
                <a:gd name="connsiteY2" fmla="*/ 149575 h 18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3663" h="186968">
                  <a:moveTo>
                    <a:pt x="147616" y="0"/>
                  </a:moveTo>
                  <a:lnTo>
                    <a:pt x="0" y="186969"/>
                  </a:lnTo>
                  <a:lnTo>
                    <a:pt x="393663" y="149575"/>
                  </a:lnTo>
                  <a:close/>
                </a:path>
              </a:pathLst>
            </a:custGeom>
            <a:gradFill>
              <a:gsLst>
                <a:gs pos="0">
                  <a:srgbClr val="FF00A7"/>
                </a:gs>
                <a:gs pos="60000">
                  <a:srgbClr val="FF004D"/>
                </a:gs>
              </a:gsLst>
              <a:lin ang="54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ŝľïde"/>
            <p:cNvSpPr/>
            <p:nvPr/>
          </p:nvSpPr>
          <p:spPr>
            <a:xfrm>
              <a:off x="652368" y="3175091"/>
              <a:ext cx="124707" cy="265309"/>
            </a:xfrm>
            <a:custGeom>
              <a:avLst/>
              <a:gdLst>
                <a:gd name="connsiteX0" fmla="*/ 0 w 147674"/>
                <a:gd name="connsiteY0" fmla="*/ 231873 h 314170"/>
                <a:gd name="connsiteX1" fmla="*/ 131260 w 147674"/>
                <a:gd name="connsiteY1" fmla="*/ 314171 h 314170"/>
                <a:gd name="connsiteX2" fmla="*/ 147675 w 147674"/>
                <a:gd name="connsiteY2" fmla="*/ 0 h 31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674" h="314170">
                  <a:moveTo>
                    <a:pt x="0" y="231873"/>
                  </a:moveTo>
                  <a:lnTo>
                    <a:pt x="131260" y="314171"/>
                  </a:lnTo>
                  <a:lnTo>
                    <a:pt x="147675" y="0"/>
                  </a:lnTo>
                  <a:close/>
                </a:path>
              </a:pathLst>
            </a:custGeom>
            <a:solidFill>
              <a:srgbClr val="FF00A7">
                <a:alpha val="31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iṥḻîḓé"/>
            <p:cNvSpPr/>
            <p:nvPr/>
          </p:nvSpPr>
          <p:spPr>
            <a:xfrm>
              <a:off x="779417" y="2538513"/>
              <a:ext cx="727283" cy="997949"/>
            </a:xfrm>
            <a:custGeom>
              <a:avLst/>
              <a:gdLst>
                <a:gd name="connsiteX0" fmla="*/ 0 w 861222"/>
                <a:gd name="connsiteY0" fmla="*/ 860161 h 1181735"/>
                <a:gd name="connsiteX1" fmla="*/ 861222 w 861222"/>
                <a:gd name="connsiteY1" fmla="*/ 1181736 h 1181735"/>
                <a:gd name="connsiteX2" fmla="*/ 131202 w 861222"/>
                <a:gd name="connsiteY2" fmla="*/ 0 h 118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1222" h="1181735">
                  <a:moveTo>
                    <a:pt x="0" y="860161"/>
                  </a:moveTo>
                  <a:lnTo>
                    <a:pt x="861222" y="1181736"/>
                  </a:lnTo>
                  <a:lnTo>
                    <a:pt x="131202" y="0"/>
                  </a:lnTo>
                  <a:close/>
                </a:path>
              </a:pathLst>
            </a:custGeom>
            <a:gradFill>
              <a:gsLst>
                <a:gs pos="0">
                  <a:srgbClr val="F634FF"/>
                </a:gs>
                <a:gs pos="100000">
                  <a:srgbClr val="FF004D"/>
                </a:gs>
              </a:gsLst>
              <a:lin ang="2700000" scaled="1"/>
            </a:gra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ïṩ1íḑè"/>
            <p:cNvSpPr/>
            <p:nvPr/>
          </p:nvSpPr>
          <p:spPr>
            <a:xfrm rot="6848855">
              <a:off x="1034603" y="3739152"/>
              <a:ext cx="442409" cy="334764"/>
            </a:xfrm>
            <a:custGeom>
              <a:avLst/>
              <a:gdLst>
                <a:gd name="connsiteX0" fmla="*/ 0 w 803858"/>
                <a:gd name="connsiteY0" fmla="*/ 52362 h 396415"/>
                <a:gd name="connsiteX1" fmla="*/ 278876 w 803858"/>
                <a:gd name="connsiteY1" fmla="*/ 396415 h 396415"/>
                <a:gd name="connsiteX2" fmla="*/ 803858 w 803858"/>
                <a:gd name="connsiteY2" fmla="*/ 0 h 39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3858" h="396415">
                  <a:moveTo>
                    <a:pt x="0" y="52362"/>
                  </a:moveTo>
                  <a:lnTo>
                    <a:pt x="278876" y="396415"/>
                  </a:lnTo>
                  <a:lnTo>
                    <a:pt x="803858" y="0"/>
                  </a:lnTo>
                  <a:close/>
                </a:path>
              </a:pathLst>
            </a:custGeom>
            <a:solidFill>
              <a:srgbClr val="FF00A7">
                <a:alpha val="24000"/>
              </a:srgbClr>
            </a:solidFill>
            <a:ln w="5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.xml"/><Relationship Id="rId2" Type="http://schemas.openxmlformats.org/officeDocument/2006/relationships/themeOverride" Target="../theme/themeOverride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4.xml"/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6.xml"/><Relationship Id="rId4" Type="http://schemas.openxmlformats.org/officeDocument/2006/relationships/themeOverride" Target="../theme/themeOverride5.xml"/><Relationship Id="rId3" Type="http://schemas.openxmlformats.org/officeDocument/2006/relationships/tags" Target="../tags/tag5.xml"/><Relationship Id="rId2" Type="http://schemas.openxmlformats.org/officeDocument/2006/relationships/image" Target="../media/image9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3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4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ṩ1î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Sḷíḓe"/>
          <p:cNvSpPr>
            <a:spLocks noGrp="1"/>
          </p:cNvSpPr>
          <p:nvPr>
            <p:ph type="subTitle" idx="1"/>
          </p:nvPr>
        </p:nvSpPr>
        <p:spPr>
          <a:xfrm>
            <a:off x="568759" y="3730639"/>
            <a:ext cx="11054265" cy="558799"/>
          </a:xfrm>
        </p:spPr>
        <p:txBody>
          <a:bodyPr/>
          <a:lstStyle/>
          <a:p>
            <a:r>
              <a:rPr lang="zh-CN" altLang="en-US" sz="2800" dirty="0"/>
              <a:t>张汉东</a:t>
            </a:r>
            <a:endParaRPr lang="zh-CN" altLang="en-US" sz="2800" dirty="0"/>
          </a:p>
        </p:txBody>
      </p:sp>
      <p:sp>
        <p:nvSpPr>
          <p:cNvPr id="4" name="íṥļïḓè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54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Rust </a:t>
            </a:r>
            <a:r>
              <a:rPr lang="zh-CN" altLang="en-US" sz="54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学习与应用领域</a:t>
            </a:r>
            <a:r>
              <a:rPr lang="zh-CN" altLang="en-US" sz="54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  <a:t>介绍</a:t>
            </a:r>
            <a:br>
              <a:rPr lang="zh-CN" altLang="en-US" sz="5400" dirty="0">
                <a:gradFill>
                  <a:gsLst>
                    <a:gs pos="50000">
                      <a:schemeClr val="bg1"/>
                    </a:gs>
                    <a:gs pos="100000">
                      <a:srgbClr val="09025E"/>
                    </a:gs>
                  </a:gsLst>
                  <a:lin ang="5400000" scaled="1"/>
                </a:gradFill>
              </a:rPr>
            </a:br>
            <a:endParaRPr lang="zh-CN" altLang="en-US" sz="5400" dirty="0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79755" y="339090"/>
            <a:ext cx="7107555" cy="52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r>
              <a:rPr lang="en-US" altLang="zh-CN" sz="2800" b="1">
                <a:solidFill>
                  <a:schemeClr val="bg1"/>
                </a:solidFill>
              </a:rPr>
              <a:t>2022 </a:t>
            </a:r>
            <a:r>
              <a:rPr lang="zh-CN" altLang="en-US" sz="2800" b="1">
                <a:solidFill>
                  <a:schemeClr val="bg1"/>
                </a:solidFill>
              </a:rPr>
              <a:t>开源操作系统学习训练营开幕式</a:t>
            </a:r>
            <a:endParaRPr lang="zh-CN" altLang="en-US" sz="2800" b="1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433060" y="4217670"/>
            <a:ext cx="1325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>
                <a:solidFill>
                  <a:schemeClr val="bg1"/>
                </a:solidFill>
              </a:rPr>
              <a:t>2022.07.05</a:t>
            </a:r>
            <a:endParaRPr lang="en-US" altLang="zh-CN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59130" y="1607820"/>
            <a:ext cx="476186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Rust </a:t>
            </a:r>
            <a:r>
              <a:rPr lang="zh-CN" altLang="en-US" sz="2800"/>
              <a:t>语言特性</a:t>
            </a:r>
            <a:r>
              <a:rPr lang="en-US" altLang="zh-CN" sz="2800"/>
              <a:t>/ </a:t>
            </a:r>
            <a:r>
              <a:rPr lang="zh-CN" altLang="en-US" sz="2800"/>
              <a:t>可靠性</a:t>
            </a:r>
            <a:endParaRPr lang="zh-CN" altLang="en-US" sz="2800"/>
          </a:p>
        </p:txBody>
      </p:sp>
      <p:pic>
        <p:nvPicPr>
          <p:cNvPr id="3" name="Picture 2" descr="safety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12765" y="1880870"/>
            <a:ext cx="6014720" cy="2051685"/>
          </a:xfrm>
          <a:prstGeom prst="rect">
            <a:avLst/>
          </a:prstGeom>
        </p:spPr>
      </p:pic>
      <p:pic>
        <p:nvPicPr>
          <p:cNvPr id="8" name="Picture 7" descr="Screen Shot 2021-07-18 at 06.19.0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0885" y="4300220"/>
            <a:ext cx="1965960" cy="1572260"/>
          </a:xfrm>
          <a:prstGeom prst="rect">
            <a:avLst/>
          </a:prstGeom>
        </p:spPr>
      </p:pic>
      <p:sp>
        <p:nvSpPr>
          <p:cNvPr id="9" name="Text Box 8"/>
          <p:cNvSpPr txBox="1"/>
          <p:nvPr/>
        </p:nvSpPr>
        <p:spPr>
          <a:xfrm>
            <a:off x="669925" y="2504440"/>
            <a:ext cx="6520815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/>
              <a:t>所有权机制要解决的内存不安全问题包括：</a:t>
            </a:r>
            <a:endParaRPr lang="en-US"/>
          </a:p>
          <a:p>
            <a:endParaRPr lang="en-US"/>
          </a:p>
          <a:p>
            <a:r>
              <a:rPr lang="en-US"/>
              <a:t>1. 引用空指针。</a:t>
            </a:r>
            <a:endParaRPr lang="en-US"/>
          </a:p>
          <a:p>
            <a:r>
              <a:rPr lang="en-US"/>
              <a:t>2. 使用未初始化内存。</a:t>
            </a:r>
            <a:endParaRPr lang="en-US"/>
          </a:p>
          <a:p>
            <a:r>
              <a:rPr lang="en-US"/>
              <a:t>3. 释放后使用，也就是使用悬垂指针。</a:t>
            </a:r>
            <a:endParaRPr lang="en-US"/>
          </a:p>
          <a:p>
            <a:r>
              <a:rPr lang="en-US"/>
              <a:t>4. 缓冲区溢出，比如数组越界。</a:t>
            </a:r>
            <a:endParaRPr lang="en-US"/>
          </a:p>
          <a:p>
            <a:r>
              <a:rPr lang="en-US"/>
              <a:t>5. 非法释放已经释放过的指针或未分配的指针，也就是重复释放。</a:t>
            </a:r>
            <a:endParaRPr lang="en-US"/>
          </a:p>
          <a:p>
            <a:endParaRPr lang="en-US"/>
          </a:p>
          <a:p>
            <a:r>
              <a:rPr lang="en-US"/>
              <a:t>注意，内存泄露不属于内存安全问题范畴，所以 Rust 也不解决内存泄露问题。</a:t>
            </a:r>
            <a:endParaRPr 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Text Box 2"/>
          <p:cNvSpPr txBox="1"/>
          <p:nvPr/>
        </p:nvSpPr>
        <p:spPr>
          <a:xfrm>
            <a:off x="612775" y="1369695"/>
            <a:ext cx="10986770" cy="50774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截止目前，crates.io 上面已经有 87,018 个 crate，总下载量已经达到 17,853,788,845次。</a:t>
            </a:r>
            <a:endParaRPr lang="zh-CN" altLang="en-US"/>
          </a:p>
          <a:p>
            <a:r>
              <a:rPr lang="zh-CN" altLang="en-US"/>
              <a:t>Crates.io 最流行的几个场景依次如下：</a:t>
            </a:r>
            <a:endParaRPr lang="zh-CN" altLang="en-US"/>
          </a:p>
          <a:p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命令行工具 （3133 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no-std 库 （2778  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开发工具（测试/ debug/linting/性能检测等， 2652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Web 编程 （1776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API 绑定 （方便 Rust 使用的特定 api 包装，比如 http api、ffi 相关api等，1738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网络编程 （1615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数据结构 （1572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嵌入式开发 （1508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加密技术（1498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异步开发（1487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算法 （1200 crates）</a:t>
            </a:r>
            <a:endParaRPr lang="zh-CN" alt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/>
              <a:t>科学计算（包括物理、生物、化学、地理、机器学习等，1100 crates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除此之外，还有  WebAssembly 、编码、文本处理、并发、GUI、游戏引擎、可视化、模版引擎、解析器、操作系统绑定 等其他分类，也有不少库。</a:t>
            </a:r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Text Box 2"/>
          <p:cNvSpPr txBox="1"/>
          <p:nvPr/>
        </p:nvSpPr>
        <p:spPr>
          <a:xfrm>
            <a:off x="669925" y="3155315"/>
            <a:ext cx="564070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/>
              <a:t>Rust </a:t>
            </a:r>
            <a:r>
              <a:rPr lang="zh-CN" altLang="en-US"/>
              <a:t>标准库实现都是</a:t>
            </a:r>
            <a:r>
              <a:rPr lang="en-US" altLang="zh-CN"/>
              <a:t> Unsafe </a:t>
            </a:r>
            <a:r>
              <a:rPr lang="zh-CN" altLang="en-US"/>
              <a:t>为什么说它是安全</a:t>
            </a:r>
            <a:r>
              <a:rPr lang="zh-CN" altLang="en-US"/>
              <a:t>的？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因为有</a:t>
            </a:r>
            <a:r>
              <a:rPr lang="en-US" altLang="zh-CN"/>
              <a:t> Unsafe Rust  </a:t>
            </a:r>
            <a:r>
              <a:rPr lang="zh-CN" altLang="en-US"/>
              <a:t>安全</a:t>
            </a:r>
            <a:r>
              <a:rPr lang="zh-CN" altLang="en-US"/>
              <a:t>抽象。</a:t>
            </a:r>
            <a:endParaRPr lang="zh-CN" altLang="en-US"/>
          </a:p>
        </p:txBody>
      </p:sp>
      <p:pic>
        <p:nvPicPr>
          <p:cNvPr id="5" name="图片 4" descr="Screen Shot 2022-07-05 at 16.15.5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539865" y="1113155"/>
            <a:ext cx="4358005" cy="542671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Text Box 2"/>
          <p:cNvSpPr txBox="1"/>
          <p:nvPr/>
        </p:nvSpPr>
        <p:spPr>
          <a:xfrm>
            <a:off x="669925" y="1533525"/>
            <a:ext cx="56407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/>
              <a:t>Rust </a:t>
            </a:r>
            <a:r>
              <a:rPr lang="zh-CN" altLang="en-US"/>
              <a:t>目前的应用</a:t>
            </a:r>
            <a:r>
              <a:rPr lang="zh-CN" altLang="en-US"/>
              <a:t>领域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859155" y="2256155"/>
            <a:ext cx="109982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操作系统</a:t>
            </a:r>
            <a:endParaRPr lang="zh-CN" altLang="en-US" b="1"/>
          </a:p>
        </p:txBody>
      </p:sp>
      <p:sp>
        <p:nvSpPr>
          <p:cNvPr id="7" name="文本框 6"/>
          <p:cNvSpPr txBox="1"/>
          <p:nvPr/>
        </p:nvSpPr>
        <p:spPr>
          <a:xfrm>
            <a:off x="859155" y="2865120"/>
            <a:ext cx="132778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分布式</a:t>
            </a:r>
            <a:r>
              <a:rPr lang="zh-CN" altLang="en-US"/>
              <a:t>系统</a:t>
            </a:r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2085975" y="2865120"/>
            <a:ext cx="101028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· </a:t>
            </a:r>
            <a:r>
              <a:rPr lang="zh-CN" altLang="en-US" b="1"/>
              <a:t>数据库</a:t>
            </a:r>
            <a:endParaRPr lang="zh-CN" altLang="en-US" b="1"/>
          </a:p>
        </p:txBody>
      </p:sp>
      <p:sp>
        <p:nvSpPr>
          <p:cNvPr id="9" name="文本框 8"/>
          <p:cNvSpPr txBox="1"/>
          <p:nvPr/>
        </p:nvSpPr>
        <p:spPr>
          <a:xfrm>
            <a:off x="872490" y="3561715"/>
            <a:ext cx="382460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跨平台开发</a:t>
            </a:r>
            <a:r>
              <a:rPr lang="en-US" altLang="zh-CN" b="1"/>
              <a:t> · </a:t>
            </a:r>
            <a:r>
              <a:rPr lang="zh-CN" altLang="en-US" b="1"/>
              <a:t>前端的</a:t>
            </a:r>
            <a:r>
              <a:rPr lang="zh-CN" altLang="en-US" b="1"/>
              <a:t>后端～基础设施</a:t>
            </a:r>
            <a:endParaRPr lang="zh-CN" altLang="en-US" b="1"/>
          </a:p>
        </p:txBody>
      </p:sp>
      <p:sp>
        <p:nvSpPr>
          <p:cNvPr id="11" name="文本框 10"/>
          <p:cNvSpPr txBox="1"/>
          <p:nvPr/>
        </p:nvSpPr>
        <p:spPr>
          <a:xfrm>
            <a:off x="876300" y="4295140"/>
            <a:ext cx="395668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云计算</a:t>
            </a:r>
            <a:r>
              <a:rPr lang="en-US" altLang="zh-CN" b="1"/>
              <a:t> · WebAssembly Server Side</a:t>
            </a:r>
            <a:endParaRPr lang="en-US" altLang="zh-CN" b="1"/>
          </a:p>
        </p:txBody>
      </p:sp>
      <p:sp>
        <p:nvSpPr>
          <p:cNvPr id="13" name="文本框 12"/>
          <p:cNvSpPr txBox="1"/>
          <p:nvPr/>
        </p:nvSpPr>
        <p:spPr>
          <a:xfrm>
            <a:off x="908685" y="5104765"/>
            <a:ext cx="311086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区块链</a:t>
            </a:r>
            <a:r>
              <a:rPr lang="en-US" altLang="zh-CN" b="1"/>
              <a:t> · </a:t>
            </a:r>
            <a:r>
              <a:rPr lang="zh-CN" altLang="en-US" b="1"/>
              <a:t>隐私计算</a:t>
            </a:r>
            <a:r>
              <a:rPr lang="en-US" altLang="zh-CN" b="1"/>
              <a:t> · </a:t>
            </a:r>
            <a:r>
              <a:rPr lang="zh-CN" altLang="en-US" b="1"/>
              <a:t>数字</a:t>
            </a:r>
            <a:r>
              <a:rPr lang="zh-CN" altLang="en-US" b="1"/>
              <a:t>金融</a:t>
            </a:r>
            <a:endParaRPr lang="zh-CN" altLang="en-US" b="1"/>
          </a:p>
        </p:txBody>
      </p:sp>
      <p:sp>
        <p:nvSpPr>
          <p:cNvPr id="16" name="文本框 15"/>
          <p:cNvSpPr txBox="1"/>
          <p:nvPr/>
        </p:nvSpPr>
        <p:spPr>
          <a:xfrm>
            <a:off x="3083560" y="2193925"/>
            <a:ext cx="68757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/>
              <a:t>rCore / zCore / Redox / TockOS / Theseus / TockOS / Hubris </a:t>
            </a:r>
            <a:r>
              <a:rPr lang="zh-CN" altLang="en-US"/>
              <a:t>等等</a:t>
            </a:r>
            <a:endParaRPr lang="zh-CN" altLang="en-US"/>
          </a:p>
        </p:txBody>
      </p:sp>
      <p:sp>
        <p:nvSpPr>
          <p:cNvPr id="17" name="文本框 16"/>
          <p:cNvSpPr txBox="1"/>
          <p:nvPr/>
        </p:nvSpPr>
        <p:spPr>
          <a:xfrm>
            <a:off x="3254375" y="2857500"/>
            <a:ext cx="5415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/>
              <a:t>TiKV / Databend / skytable/ ReadySet /  risingwave </a:t>
            </a:r>
            <a:endParaRPr lang="en-US" altLang="zh-CN"/>
          </a:p>
        </p:txBody>
      </p:sp>
      <p:sp>
        <p:nvSpPr>
          <p:cNvPr id="18" name="文本框 17"/>
          <p:cNvSpPr txBox="1"/>
          <p:nvPr/>
        </p:nvSpPr>
        <p:spPr>
          <a:xfrm>
            <a:off x="4697095" y="3540125"/>
            <a:ext cx="74955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飞书客户端</a:t>
            </a:r>
            <a:r>
              <a:rPr lang="en-US" altLang="zh-CN"/>
              <a:t>/  </a:t>
            </a:r>
            <a:r>
              <a:rPr lang="zh-CN" altLang="en-US"/>
              <a:t>支付宝小程序容器</a:t>
            </a:r>
            <a:r>
              <a:rPr lang="en-US" altLang="zh-CN"/>
              <a:t> / </a:t>
            </a:r>
            <a:r>
              <a:rPr lang="zh-CN" altLang="en-US"/>
              <a:t>Tauri (Rust)</a:t>
            </a:r>
            <a:r>
              <a:rPr lang="en-US" altLang="zh-CN"/>
              <a:t> / Spacedrive / </a:t>
            </a:r>
            <a:r>
              <a:rPr lang="zh-CN" altLang="en-US"/>
              <a:t>移动</a:t>
            </a:r>
            <a:r>
              <a:rPr lang="zh-CN" altLang="en-US"/>
              <a:t>开发</a:t>
            </a:r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5307330" y="4305935"/>
            <a:ext cx="1706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Linkerd /  Spin </a:t>
            </a:r>
            <a:endParaRPr lang="en-US" altLang="zh-CN"/>
          </a:p>
        </p:txBody>
      </p:sp>
      <p:sp>
        <p:nvSpPr>
          <p:cNvPr id="20" name="文本框 19"/>
          <p:cNvSpPr txBox="1"/>
          <p:nvPr/>
        </p:nvSpPr>
        <p:spPr>
          <a:xfrm>
            <a:off x="4813935" y="5115560"/>
            <a:ext cx="3002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Diem / Aleo / </a:t>
            </a:r>
            <a:r>
              <a:rPr lang="zh-CN" altLang="en-US"/>
              <a:t>量化</a:t>
            </a:r>
            <a:r>
              <a:rPr lang="en-US" altLang="zh-CN"/>
              <a:t>·</a:t>
            </a:r>
            <a:r>
              <a:rPr lang="zh-CN" altLang="en-US"/>
              <a:t>外汇</a:t>
            </a:r>
            <a:r>
              <a:rPr lang="zh-CN" altLang="en-US"/>
              <a:t>交易</a:t>
            </a:r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951230" y="5732780"/>
            <a:ext cx="109982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b="1"/>
              <a:t>终端应用</a:t>
            </a:r>
            <a:endParaRPr lang="zh-CN" altLang="en-US" b="1"/>
          </a:p>
        </p:txBody>
      </p:sp>
      <p:sp>
        <p:nvSpPr>
          <p:cNvPr id="22" name="文本框 21"/>
          <p:cNvSpPr txBox="1"/>
          <p:nvPr/>
        </p:nvSpPr>
        <p:spPr>
          <a:xfrm>
            <a:off x="4813935" y="5754370"/>
            <a:ext cx="7289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Warp</a:t>
            </a:r>
            <a:endParaRPr lang="en-US" altLang="zh-CN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s1í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ṣļiḑ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1" imgW="0" imgH="0" progId="TCLayout.ActiveDocument.1">
                  <p:embed/>
                </p:oleObj>
              </mc:Choice>
              <mc:Fallback>
                <p:oleObj name="think-cell Slide" r:id="rId1" imgW="0" imgH="0" progId="TCLayout.ActiveDocument.1">
                  <p:embed/>
                  <p:pic>
                    <p:nvPicPr>
                      <p:cNvPr id="0" name="îṥļiḋé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ľïď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sļiďé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4000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4" name="Text Box 3"/>
          <p:cNvSpPr txBox="1"/>
          <p:nvPr/>
        </p:nvSpPr>
        <p:spPr>
          <a:xfrm>
            <a:off x="3819525" y="2783205"/>
            <a:ext cx="8958580" cy="18453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2400">
                <a:solidFill>
                  <a:schemeClr val="bg1"/>
                </a:solidFill>
              </a:rPr>
              <a:t>联系我：</a:t>
            </a:r>
            <a:br>
              <a:rPr lang="zh-CN" altLang="en-US">
                <a:solidFill>
                  <a:schemeClr val="bg1"/>
                </a:solidFill>
              </a:rPr>
            </a:br>
            <a:br>
              <a:rPr lang="zh-CN" altLang="en-US">
                <a:solidFill>
                  <a:schemeClr val="bg1"/>
                </a:solidFill>
              </a:rPr>
            </a:br>
            <a:r>
              <a:rPr lang="zh-CN" altLang="en-US">
                <a:solidFill>
                  <a:schemeClr val="bg1"/>
                </a:solidFill>
              </a:rPr>
              <a:t>微信 </a:t>
            </a:r>
            <a:r>
              <a:rPr lang="en-US" altLang="zh-CN">
                <a:solidFill>
                  <a:schemeClr val="bg1"/>
                </a:solidFill>
              </a:rPr>
              <a:t>  @blackanger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公众号：觉</a:t>
            </a:r>
            <a:r>
              <a:rPr lang="zh-CN" altLang="en-US">
                <a:solidFill>
                  <a:schemeClr val="bg1"/>
                </a:solidFill>
              </a:rPr>
              <a:t>学社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  <a:sym typeface="+mn-ea"/>
              </a:rPr>
              <a:t>知乎专栏  （被无故永久封号）   时光与精神小屋</a:t>
            </a:r>
            <a:br>
              <a:rPr lang="zh-CN" altLang="en-US">
                <a:solidFill>
                  <a:schemeClr val="bg1"/>
                </a:solidFill>
                <a:sym typeface="+mn-ea"/>
              </a:rPr>
            </a:br>
            <a:endParaRPr lang="zh-CN" altLang="en-US">
              <a:solidFill>
                <a:schemeClr val="bg1"/>
              </a:solidFill>
            </a:endParaRP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dirty="0">
                <a:sym typeface="+mn-ea"/>
              </a:rPr>
              <a:t>个人简介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Text Box 2"/>
          <p:cNvSpPr txBox="1"/>
          <p:nvPr/>
        </p:nvSpPr>
        <p:spPr>
          <a:xfrm>
            <a:off x="752475" y="1256665"/>
            <a:ext cx="13754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/>
              <a:t>张汉东</a:t>
            </a:r>
            <a:endParaRPr lang="zh-CN" altLang="en-US" sz="2800"/>
          </a:p>
        </p:txBody>
      </p:sp>
      <p:sp>
        <p:nvSpPr>
          <p:cNvPr id="8" name="Text Box 7"/>
          <p:cNvSpPr txBox="1"/>
          <p:nvPr/>
        </p:nvSpPr>
        <p:spPr>
          <a:xfrm>
            <a:off x="760095" y="2212975"/>
            <a:ext cx="841565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endParaRPr lang="zh-CN" altLang="en-US" sz="2400"/>
          </a:p>
          <a:p>
            <a:r>
              <a:rPr lang="zh-CN" altLang="en-US" sz="2400"/>
              <a:t>也创建了以下开源的学习资源供大</a:t>
            </a:r>
            <a:r>
              <a:rPr lang="zh-CN" altLang="en-US" sz="2400"/>
              <a:t>家学习参考：</a:t>
            </a:r>
            <a:endParaRPr lang="en-US" altLang="zh-CN" sz="2400"/>
          </a:p>
        </p:txBody>
      </p:sp>
      <p:sp>
        <p:nvSpPr>
          <p:cNvPr id="9" name="Text Box 8"/>
          <p:cNvSpPr txBox="1"/>
          <p:nvPr/>
        </p:nvSpPr>
        <p:spPr>
          <a:xfrm>
            <a:off x="2235200" y="1287145"/>
            <a:ext cx="1004316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/>
              <a:t>企业独立咨询顾问，</a:t>
            </a:r>
            <a:r>
              <a:rPr lang="en-US" altLang="zh-CN" sz="2400">
                <a:sym typeface="+mn-ea"/>
              </a:rPr>
              <a:t>Rust </a:t>
            </a:r>
            <a:r>
              <a:rPr lang="zh-CN" altLang="en-US" sz="2400">
                <a:sym typeface="+mn-ea"/>
              </a:rPr>
              <a:t>社区重度参与者与</a:t>
            </a:r>
            <a:r>
              <a:rPr lang="zh-CN" altLang="en-US" sz="2400">
                <a:sym typeface="+mn-ea"/>
              </a:rPr>
              <a:t>贡献者，喜欢学习与分享</a:t>
            </a:r>
            <a:endParaRPr lang="zh-CN" altLang="en-US" sz="2400"/>
          </a:p>
          <a:p>
            <a:endParaRPr lang="zh-CN" altLang="en-US" sz="2400"/>
          </a:p>
        </p:txBody>
      </p:sp>
      <p:sp>
        <p:nvSpPr>
          <p:cNvPr id="5" name="文本框 4"/>
          <p:cNvSpPr txBox="1"/>
          <p:nvPr/>
        </p:nvSpPr>
        <p:spPr>
          <a:xfrm>
            <a:off x="749935" y="1941830"/>
            <a:ext cx="7870825" cy="46037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2400">
                <a:sym typeface="+mn-ea"/>
              </a:rPr>
              <a:t>已出版著作《</a:t>
            </a:r>
            <a:r>
              <a:rPr lang="en-US" altLang="zh-CN" sz="2400">
                <a:sym typeface="+mn-ea"/>
              </a:rPr>
              <a:t>Rust </a:t>
            </a:r>
            <a:r>
              <a:rPr lang="zh-CN" altLang="en-US" sz="2400">
                <a:sym typeface="+mn-ea"/>
              </a:rPr>
              <a:t>编程之道》和</a:t>
            </a:r>
            <a:r>
              <a:rPr lang="en-US" altLang="zh-CN" sz="2400">
                <a:sym typeface="+mn-ea"/>
              </a:rPr>
              <a:t> </a:t>
            </a:r>
            <a:r>
              <a:rPr lang="zh-CN" altLang="en-US" sz="2400">
                <a:sym typeface="+mn-ea"/>
              </a:rPr>
              <a:t>译作《</a:t>
            </a:r>
            <a:r>
              <a:rPr lang="en-US" altLang="zh-CN" sz="2400">
                <a:sym typeface="+mn-ea"/>
              </a:rPr>
              <a:t>Ruby </a:t>
            </a:r>
            <a:r>
              <a:rPr lang="zh-CN" altLang="en-US" sz="2400">
                <a:sym typeface="+mn-ea"/>
              </a:rPr>
              <a:t>原理剖析》</a:t>
            </a:r>
            <a:endParaRPr lang="zh-CN" altLang="en-US" sz="2400"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90905" y="4027805"/>
            <a:ext cx="685101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《</a:t>
            </a:r>
            <a:r>
              <a:rPr lang="en-US" altLang="zh-CN"/>
              <a:t>Rust </a:t>
            </a:r>
            <a:r>
              <a:rPr lang="zh-CN" altLang="en-US"/>
              <a:t>编码规范》</a:t>
            </a:r>
            <a:r>
              <a:rPr lang="en-US" altLang="zh-CN"/>
              <a:t>  </a:t>
            </a:r>
            <a:br>
              <a:rPr lang="en-US" altLang="zh-CN"/>
            </a:br>
            <a:r>
              <a:rPr lang="zh-CN" altLang="en-US"/>
              <a:t>https://rust-coding-guidelines.github.io/rust-coding-guidelines-zh/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890905" y="3156585"/>
            <a:ext cx="67189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《</a:t>
            </a:r>
            <a:r>
              <a:rPr lang="en-US" altLang="zh-CN"/>
              <a:t>Rust Magazine</a:t>
            </a:r>
            <a:r>
              <a:rPr lang="zh-CN" altLang="en-US"/>
              <a:t>》</a:t>
            </a:r>
            <a:r>
              <a:rPr lang="en-US" altLang="zh-CN"/>
              <a:t> </a:t>
            </a:r>
            <a:br>
              <a:rPr lang="en-US" altLang="zh-CN"/>
            </a:br>
            <a:r>
              <a:rPr lang="zh-CN" altLang="en-US"/>
              <a:t>https://github.com/RustMagazine</a:t>
            </a:r>
            <a:endParaRPr lang="zh-CN" altLang="en-US"/>
          </a:p>
        </p:txBody>
      </p:sp>
      <p:pic>
        <p:nvPicPr>
          <p:cNvPr id="14" name="图片 13" descr="飞书20220705-1456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83575" y="2453005"/>
            <a:ext cx="3050540" cy="345186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890905" y="5013960"/>
            <a:ext cx="232092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2400" b="1"/>
              <a:t>公众号：觉学社</a:t>
            </a:r>
            <a:endParaRPr lang="zh-CN" altLang="en-US" sz="2400" b="1"/>
          </a:p>
        </p:txBody>
      </p:sp>
      <p:sp>
        <p:nvSpPr>
          <p:cNvPr id="16" name="文本框 15"/>
          <p:cNvSpPr txBox="1"/>
          <p:nvPr/>
        </p:nvSpPr>
        <p:spPr>
          <a:xfrm>
            <a:off x="3528695" y="505968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欢迎</a:t>
            </a:r>
            <a:r>
              <a:rPr lang="zh-CN" altLang="en-US"/>
              <a:t>关注</a:t>
            </a:r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ṣlï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šḻiḓé"/>
          <p:cNvGrpSpPr/>
          <p:nvPr/>
        </p:nvGrpSpPr>
        <p:grpSpPr>
          <a:xfrm>
            <a:off x="757282" y="1700808"/>
            <a:ext cx="10762570" cy="4623993"/>
            <a:chOff x="757282" y="1700808"/>
            <a:chExt cx="10762570" cy="4623993"/>
          </a:xfrm>
        </p:grpSpPr>
        <p:grpSp>
          <p:nvGrpSpPr>
            <p:cNvPr id="6" name="îṡľíḓ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762570" cy="4623993"/>
              <a:chOff x="1175743" y="1700808"/>
              <a:chExt cx="10344134" cy="4623993"/>
            </a:xfrm>
          </p:grpSpPr>
          <p:sp>
            <p:nvSpPr>
              <p:cNvPr id="7" name="ïŝḻïḋè"/>
              <p:cNvSpPr txBox="1"/>
              <p:nvPr/>
            </p:nvSpPr>
            <p:spPr bwMode="auto">
              <a:xfrm>
                <a:off x="3821582" y="232118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Rust 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语言学习经验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分享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Rust 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语言目前的发展状况和应用领域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介绍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iṣlidè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ṩļîdè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CONT</a:t>
                </a:r>
                <a:r>
                  <a:rPr lang="tr-TR" sz="1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 </a:t>
                </a:r>
                <a:r>
                  <a:rPr lang="tr-TR" sz="2800" b="1" dirty="0">
                    <a:gradFill>
                      <a:gsLst>
                        <a:gs pos="0">
                          <a:schemeClr val="accent3"/>
                        </a:gs>
                        <a:gs pos="90000">
                          <a:schemeClr val="accent1"/>
                        </a:gs>
                      </a:gsLst>
                      <a:lin ang="5400000" scaled="1"/>
                    </a:gradFill>
                    <a:cs typeface="+mn-ea"/>
                    <a:sym typeface="+mn-lt"/>
                  </a:rPr>
                  <a:t>ENTS</a:t>
                </a:r>
                <a:endParaRPr lang="tr-TR" sz="2800" b="1" dirty="0">
                  <a:gradFill>
                    <a:gsLst>
                      <a:gs pos="0">
                        <a:schemeClr val="accent3"/>
                      </a:gs>
                      <a:gs pos="90000">
                        <a:schemeClr val="accent1"/>
                      </a:gs>
                    </a:gsLst>
                    <a:lin ang="5400000" scaled="1"/>
                  </a:gra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ïṩľîḓe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ļiḓé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en-US" dirty="0"/>
              <a:t>分阶段</a:t>
            </a:r>
            <a:r>
              <a:rPr lang="en-US" altLang="zh-CN" dirty="0"/>
              <a:t> · </a:t>
            </a:r>
            <a:r>
              <a:rPr lang="zh-CN" altLang="en-US" dirty="0"/>
              <a:t>分类</a:t>
            </a:r>
            <a:r>
              <a:rPr lang="en-US" altLang="zh-CN" dirty="0"/>
              <a:t> · </a:t>
            </a:r>
            <a:r>
              <a:rPr lang="zh-CN" altLang="en-US" dirty="0"/>
              <a:t>建立模型</a:t>
            </a:r>
            <a:r>
              <a:rPr lang="en-US" altLang="zh-CN" dirty="0"/>
              <a:t> · </a:t>
            </a:r>
            <a:r>
              <a:rPr lang="zh-CN" altLang="en-US" dirty="0"/>
              <a:t>实践</a:t>
            </a:r>
            <a:r>
              <a:rPr lang="zh-CN" altLang="en-US" dirty="0"/>
              <a:t>反馈</a:t>
            </a:r>
            <a:endParaRPr lang="zh-CN" altLang="en-US" dirty="0"/>
          </a:p>
        </p:txBody>
      </p:sp>
      <p:sp>
        <p:nvSpPr>
          <p:cNvPr id="14" name="íṧľïḓ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Rust </a:t>
            </a:r>
            <a:r>
              <a:rPr lang="zh-CN" altLang="en-US" dirty="0"/>
              <a:t>语言学习经验</a:t>
            </a:r>
            <a:r>
              <a:rPr lang="zh-CN" altLang="en-US" dirty="0"/>
              <a:t>分享</a:t>
            </a:r>
            <a:endParaRPr lang="zh-CN" altLang="en-US" dirty="0"/>
          </a:p>
        </p:txBody>
      </p:sp>
      <p:sp>
        <p:nvSpPr>
          <p:cNvPr id="9" name="ïSḻîďè"/>
          <p:cNvSpPr txBox="1"/>
          <p:nvPr/>
        </p:nvSpPr>
        <p:spPr>
          <a:xfrm>
            <a:off x="5225003" y="3347687"/>
            <a:ext cx="792714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79755" y="339090"/>
            <a:ext cx="7107555" cy="52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r>
              <a:rPr lang="en-US" altLang="zh-CN" sz="2800" b="1">
                <a:solidFill>
                  <a:schemeClr val="bg1"/>
                </a:solidFill>
              </a:rPr>
              <a:t>2022 </a:t>
            </a:r>
            <a:r>
              <a:rPr lang="zh-CN" altLang="en-US" sz="2800" b="1">
                <a:solidFill>
                  <a:schemeClr val="bg1"/>
                </a:solidFill>
              </a:rPr>
              <a:t>开源操作系统学习训练营开幕式</a:t>
            </a:r>
            <a:endParaRPr lang="zh-CN" altLang="en-US" sz="2800" b="1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/>
              <a:t>Rust </a:t>
            </a:r>
            <a:r>
              <a:rPr kumimoji="1" lang="zh-CN" altLang="en-US"/>
              <a:t>语言学习经验</a:t>
            </a:r>
            <a:r>
              <a:rPr kumimoji="1" lang="zh-CN" altLang="en-US"/>
              <a:t>分享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" name="Text Box 2"/>
          <p:cNvSpPr txBox="1"/>
          <p:nvPr/>
        </p:nvSpPr>
        <p:spPr>
          <a:xfrm>
            <a:off x="669925" y="1389380"/>
            <a:ext cx="88265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800"/>
              <a:t>我的学习经验总结：专注于过程而非</a:t>
            </a:r>
            <a:r>
              <a:rPr lang="zh-CN" altLang="en-US" sz="2800"/>
              <a:t>结果</a:t>
            </a:r>
            <a:endParaRPr lang="zh-CN" altLang="en-US" sz="2800"/>
          </a:p>
        </p:txBody>
      </p:sp>
      <p:cxnSp>
        <p:nvCxnSpPr>
          <p:cNvPr id="7" name="直接箭头连接符 6"/>
          <p:cNvCxnSpPr>
            <a:stCxn id="10" idx="3"/>
          </p:cNvCxnSpPr>
          <p:nvPr/>
        </p:nvCxnSpPr>
        <p:spPr>
          <a:xfrm>
            <a:off x="4601845" y="3310890"/>
            <a:ext cx="792480" cy="107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3733165" y="3126740"/>
            <a:ext cx="868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ym typeface="+mn-ea"/>
              </a:rPr>
              <a:t>分阶段</a:t>
            </a:r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5474970" y="313753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ym typeface="+mn-ea"/>
              </a:rPr>
              <a:t>分类</a:t>
            </a:r>
            <a:r>
              <a:rPr lang="zh-CN" altLang="en-US" dirty="0">
                <a:sym typeface="+mn-ea"/>
              </a:rPr>
              <a:t>梳理</a:t>
            </a:r>
            <a:endParaRPr lang="zh-CN" altLang="en-US" dirty="0">
              <a:sym typeface="+mn-ea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278370" y="313753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ym typeface="+mn-ea"/>
              </a:rPr>
              <a:t>建立模型</a:t>
            </a:r>
            <a:endParaRPr lang="zh-CN" altLang="en-US"/>
          </a:p>
        </p:txBody>
      </p:sp>
      <p:cxnSp>
        <p:nvCxnSpPr>
          <p:cNvPr id="15" name="直接箭头连接符 14"/>
          <p:cNvCxnSpPr/>
          <p:nvPr/>
        </p:nvCxnSpPr>
        <p:spPr>
          <a:xfrm>
            <a:off x="6517640" y="3338830"/>
            <a:ext cx="60261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5537200" y="434276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dirty="0">
                <a:sym typeface="+mn-ea"/>
              </a:rPr>
              <a:t>实践反馈</a:t>
            </a:r>
            <a:endParaRPr lang="zh-CN" altLang="en-US"/>
          </a:p>
        </p:txBody>
      </p:sp>
      <p:cxnSp>
        <p:nvCxnSpPr>
          <p:cNvPr id="17" name="直接箭头连接符 16"/>
          <p:cNvCxnSpPr/>
          <p:nvPr/>
        </p:nvCxnSpPr>
        <p:spPr>
          <a:xfrm flipH="1">
            <a:off x="6730365" y="3781425"/>
            <a:ext cx="789305" cy="5372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H="1" flipV="1">
            <a:off x="4429760" y="3693795"/>
            <a:ext cx="1183005" cy="6572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1679575" y="312674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概念</a:t>
            </a:r>
            <a:r>
              <a:rPr lang="zh-CN" altLang="en-US"/>
              <a:t>建立</a:t>
            </a:r>
            <a:endParaRPr lang="zh-CN" altLang="en-US"/>
          </a:p>
        </p:txBody>
      </p:sp>
      <p:sp>
        <p:nvSpPr>
          <p:cNvPr id="20" name="文本框 19"/>
          <p:cNvSpPr txBox="1"/>
          <p:nvPr/>
        </p:nvSpPr>
        <p:spPr>
          <a:xfrm>
            <a:off x="1679575" y="4396740"/>
            <a:ext cx="10972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实践</a:t>
            </a:r>
            <a:r>
              <a:rPr lang="zh-CN" altLang="en-US"/>
              <a:t>应用</a:t>
            </a:r>
            <a:endParaRPr lang="zh-CN" altLang="en-US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2024380" y="3568700"/>
            <a:ext cx="0" cy="739140"/>
          </a:xfrm>
          <a:prstGeom prst="straightConnector1">
            <a:avLst/>
          </a:prstGeom>
          <a:ln>
            <a:tailEnd type="arrow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>
          <a:xfrm flipV="1">
            <a:off x="2425065" y="3540760"/>
            <a:ext cx="0" cy="734060"/>
          </a:xfrm>
          <a:prstGeom prst="straightConnector1">
            <a:avLst/>
          </a:prstGeom>
          <a:ln>
            <a:tailEnd type="arrow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1603375" y="3034030"/>
            <a:ext cx="7208520" cy="0"/>
          </a:xfrm>
          <a:prstGeom prst="line">
            <a:avLst/>
          </a:prstGeom>
          <a:ln w="22225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1614805" y="3497580"/>
            <a:ext cx="7208520" cy="0"/>
          </a:xfrm>
          <a:prstGeom prst="line">
            <a:avLst/>
          </a:prstGeom>
          <a:ln w="22225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1679575" y="4377055"/>
            <a:ext cx="7208520" cy="0"/>
          </a:xfrm>
          <a:prstGeom prst="line">
            <a:avLst/>
          </a:prstGeom>
          <a:ln w="22225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1679575" y="4727575"/>
            <a:ext cx="7208520" cy="0"/>
          </a:xfrm>
          <a:prstGeom prst="line">
            <a:avLst/>
          </a:prstGeom>
          <a:ln w="22225" cmpd="sng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矩形 27"/>
          <p:cNvSpPr/>
          <p:nvPr/>
        </p:nvSpPr>
        <p:spPr>
          <a:xfrm>
            <a:off x="3629660" y="2864485"/>
            <a:ext cx="5258435" cy="20377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şḷï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Sļiḓé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0000"/>
          </a:bodyPr>
          <a:lstStyle/>
          <a:p>
            <a:pPr lvl="0"/>
            <a:r>
              <a:rPr lang="en-US" altLang="zh-CN" dirty="0"/>
              <a:t>Rust 1.62 </a:t>
            </a:r>
            <a:r>
              <a:rPr lang="zh-CN" altLang="en-US" dirty="0"/>
              <a:t>发布</a:t>
            </a:r>
            <a:r>
              <a:rPr lang="en-US" altLang="zh-CN" dirty="0"/>
              <a:t> </a:t>
            </a:r>
            <a:endParaRPr lang="en-US" altLang="zh-CN" dirty="0"/>
          </a:p>
          <a:p>
            <a:pPr lvl="0"/>
            <a:r>
              <a:rPr lang="zh-CN" altLang="en-US" dirty="0"/>
              <a:t>操作系统</a:t>
            </a:r>
            <a:r>
              <a:rPr lang="en-US" altLang="zh-CN" dirty="0"/>
              <a:t> · </a:t>
            </a:r>
            <a:r>
              <a:rPr lang="zh-CN" altLang="en-US" dirty="0"/>
              <a:t>数据库</a:t>
            </a:r>
            <a:r>
              <a:rPr lang="en-US" altLang="zh-CN" dirty="0"/>
              <a:t> · </a:t>
            </a:r>
            <a:r>
              <a:rPr lang="zh-CN" altLang="en-US" dirty="0"/>
              <a:t>跨平台开发</a:t>
            </a:r>
            <a:r>
              <a:rPr lang="en-US" altLang="zh-CN" dirty="0"/>
              <a:t> · </a:t>
            </a:r>
            <a:r>
              <a:rPr lang="zh-CN" altLang="en-US" dirty="0"/>
              <a:t>网络服务</a:t>
            </a:r>
            <a:r>
              <a:rPr lang="en-US" altLang="zh-CN" dirty="0"/>
              <a:t> · </a:t>
            </a:r>
            <a:r>
              <a:rPr lang="zh-CN" altLang="en-US" dirty="0"/>
              <a:t>命令行应用</a:t>
            </a:r>
            <a:r>
              <a:rPr lang="en-US" altLang="zh-CN" dirty="0"/>
              <a:t> · </a:t>
            </a:r>
            <a:r>
              <a:rPr lang="zh-CN" altLang="en-US" dirty="0"/>
              <a:t>游戏开发</a:t>
            </a:r>
            <a:r>
              <a:rPr lang="en-US" altLang="zh-CN" dirty="0"/>
              <a:t> · </a:t>
            </a:r>
            <a:r>
              <a:rPr lang="zh-CN" altLang="en-US" dirty="0"/>
              <a:t>隐私计算</a:t>
            </a:r>
            <a:r>
              <a:rPr lang="en-US" altLang="zh-CN" dirty="0"/>
              <a:t> · </a:t>
            </a:r>
            <a:r>
              <a:rPr lang="zh-CN" altLang="en-US" dirty="0"/>
              <a:t>区块链</a:t>
            </a:r>
            <a:endParaRPr lang="zh-CN" altLang="en-US" dirty="0"/>
          </a:p>
        </p:txBody>
      </p:sp>
      <p:sp>
        <p:nvSpPr>
          <p:cNvPr id="14" name="íṧľïḓ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Rust </a:t>
            </a:r>
            <a:r>
              <a:rPr lang="zh-CN" altLang="en-US" dirty="0"/>
              <a:t>语言与应用</a:t>
            </a:r>
            <a:r>
              <a:rPr lang="zh-CN" altLang="en-US" dirty="0"/>
              <a:t>领域</a:t>
            </a:r>
            <a:endParaRPr lang="zh-CN" altLang="en-US" dirty="0"/>
          </a:p>
        </p:txBody>
      </p:sp>
      <p:sp>
        <p:nvSpPr>
          <p:cNvPr id="9" name="ïSḻîďè"/>
          <p:cNvSpPr txBox="1"/>
          <p:nvPr/>
        </p:nvSpPr>
        <p:spPr>
          <a:xfrm>
            <a:off x="5225003" y="3347687"/>
            <a:ext cx="792714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79755" y="339090"/>
            <a:ext cx="7107555" cy="52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 anchor="t">
            <a:spAutoFit/>
          </a:bodyPr>
          <a:p>
            <a:r>
              <a:rPr lang="en-US" altLang="zh-CN" sz="2800" b="1">
                <a:solidFill>
                  <a:schemeClr val="bg1"/>
                </a:solidFill>
              </a:rPr>
              <a:t>2022 </a:t>
            </a:r>
            <a:r>
              <a:rPr lang="zh-CN" altLang="en-US" sz="2800" b="1">
                <a:solidFill>
                  <a:schemeClr val="bg1"/>
                </a:solidFill>
              </a:rPr>
              <a:t>开源操作系统学习训练营开幕式</a:t>
            </a:r>
            <a:endParaRPr lang="zh-CN" altLang="en-US" sz="2800" b="1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3" name="Picture 2" descr="1200px-Rust_programming_language_black_logo.sv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147685" y="1985645"/>
            <a:ext cx="2886075" cy="2886075"/>
          </a:xfrm>
          <a:prstGeom prst="rect">
            <a:avLst/>
          </a:prstGeom>
        </p:spPr>
      </p:pic>
      <p:sp>
        <p:nvSpPr>
          <p:cNvPr id="5" name="Text Box 4"/>
          <p:cNvSpPr txBox="1"/>
          <p:nvPr/>
        </p:nvSpPr>
        <p:spPr>
          <a:xfrm>
            <a:off x="684530" y="1672590"/>
            <a:ext cx="30060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Rust </a:t>
            </a:r>
            <a:r>
              <a:rPr lang="zh-CN" altLang="en-US" sz="2800"/>
              <a:t>语言历史</a:t>
            </a:r>
            <a:endParaRPr lang="zh-CN" altLang="en-US" sz="2800"/>
          </a:p>
        </p:txBody>
      </p:sp>
      <p:sp>
        <p:nvSpPr>
          <p:cNvPr id="6" name="Text Box 5"/>
          <p:cNvSpPr txBox="1"/>
          <p:nvPr/>
        </p:nvSpPr>
        <p:spPr>
          <a:xfrm>
            <a:off x="1348105" y="2522855"/>
            <a:ext cx="6553835" cy="2861310"/>
          </a:xfrm>
          <a:prstGeom prst="rect">
            <a:avLst/>
          </a:prstGeom>
          <a:noFill/>
        </p:spPr>
        <p:txBody>
          <a:bodyPr vert="horz" wrap="square" rtlCol="0" anchor="t">
            <a:spAutoFit/>
          </a:bodyPr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2008年开始由 Graydon Hoare 私人研发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2009年得到 Mozilla 赞助，2010年首次发布 0.1.0 版本，用于Servo 引擎的研发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2015 年 5 月 15 号发布 1.0 版本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2018 </a:t>
            </a:r>
            <a:r>
              <a:rPr lang="zh-CN" altLang="en-US"/>
              <a:t>年发布 </a:t>
            </a:r>
            <a:r>
              <a:rPr lang="en-US" altLang="zh-CN"/>
              <a:t>2018 Edition</a:t>
            </a: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/>
              <a:t>2021年 2 月 9 号，Rust 基金会宣布成立。华为、AWS、Google、微软、Mozilla、Facebook 等科技行业领军巨头加入 Rust 基金会，成为白金成员，以致力于在全球范围内推广和发展 Rust 语言。 </a:t>
            </a:r>
            <a:endParaRPr lang="en-US" altLang="zh-CN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/>
              <a:t>2021 </a:t>
            </a:r>
            <a:r>
              <a:rPr lang="zh-CN" altLang="en-US"/>
              <a:t>年 </a:t>
            </a:r>
            <a:r>
              <a:rPr lang="en-US" altLang="zh-CN"/>
              <a:t>10 </a:t>
            </a:r>
            <a:r>
              <a:rPr lang="zh-CN" altLang="en-US"/>
              <a:t>月 将 发布 </a:t>
            </a:r>
            <a:r>
              <a:rPr lang="en-US" altLang="zh-CN"/>
              <a:t>2021 Edition</a:t>
            </a:r>
            <a:endParaRPr lang="en-US" altLang="zh-CN"/>
          </a:p>
        </p:txBody>
      </p:sp>
      <p:sp>
        <p:nvSpPr>
          <p:cNvPr id="7" name="Text Box 6"/>
          <p:cNvSpPr txBox="1"/>
          <p:nvPr/>
        </p:nvSpPr>
        <p:spPr>
          <a:xfrm>
            <a:off x="669925" y="5493385"/>
            <a:ext cx="1077404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从</a:t>
            </a:r>
            <a:r>
              <a:rPr lang="en-US"/>
              <a:t> 2016 年开始，截止到 2022年，Rust 连续</a:t>
            </a:r>
            <a:r>
              <a:rPr lang="zh-CN" altLang="en-US"/>
              <a:t>七</a:t>
            </a:r>
            <a:r>
              <a:rPr lang="en-US"/>
              <a:t>年成为StackOverflow 语言榜上最受欢迎的语言</a:t>
            </a:r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607820"/>
            <a:ext cx="300609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Rust </a:t>
            </a:r>
            <a:r>
              <a:rPr lang="zh-CN" altLang="en-US" sz="2800"/>
              <a:t>语言特性</a:t>
            </a:r>
            <a:endParaRPr lang="zh-CN" altLang="en-US" sz="2800"/>
          </a:p>
        </p:txBody>
      </p:sp>
      <p:sp>
        <p:nvSpPr>
          <p:cNvPr id="6" name="Text Box 5"/>
          <p:cNvSpPr txBox="1"/>
          <p:nvPr/>
        </p:nvSpPr>
        <p:spPr>
          <a:xfrm>
            <a:off x="669925" y="5381625"/>
            <a:ext cx="658431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/>
              <a:t>Rust  : 一门赋予每个人 构建可靠且高效软件能力的语言</a:t>
            </a:r>
            <a:endParaRPr lang="en-US"/>
          </a:p>
        </p:txBody>
      </p:sp>
      <p:sp>
        <p:nvSpPr>
          <p:cNvPr id="7" name="Text Box 6"/>
          <p:cNvSpPr txBox="1"/>
          <p:nvPr/>
        </p:nvSpPr>
        <p:spPr>
          <a:xfrm>
            <a:off x="898525" y="2740660"/>
            <a:ext cx="10208895" cy="2030095"/>
          </a:xfrm>
          <a:prstGeom prst="rect">
            <a:avLst/>
          </a:prstGeom>
          <a:noFill/>
        </p:spPr>
        <p:txBody>
          <a:bodyPr vert="horz" wrap="square" rtlCol="0" anchor="t">
            <a:spAutoFit/>
          </a:bodyPr>
          <a:p>
            <a:pPr marL="342900" indent="-342900">
              <a:buAutoNum type="arabicPeriod"/>
            </a:pPr>
            <a:r>
              <a:rPr lang="en-US"/>
              <a:t>高性能。Rust 速度惊人且内存利用率极高。由于没有运行时和垃圾回收，它能够胜任对性能要求特别高的服务，可以在嵌入式设备上运行，还能轻松和其他语言集成。</a:t>
            </a:r>
            <a:endParaRPr lang="en-US"/>
          </a:p>
          <a:p>
            <a:pPr marL="342900" indent="-342900">
              <a:buAutoNum type="arabicPeriod"/>
            </a:pPr>
            <a:r>
              <a:rPr lang="en-US"/>
              <a:t>可靠性。Rust 丰富的类型系统和所有权模型保证了内存安全和线程安全，让您在编译期就能够消除各种各样的错误。</a:t>
            </a:r>
            <a:endParaRPr lang="en-US"/>
          </a:p>
          <a:p>
            <a:pPr marL="342900" indent="-342900">
              <a:buAutoNum type="arabicPeriod"/>
            </a:pPr>
            <a:r>
              <a:rPr lang="en-US"/>
              <a:t>生产力。Rust 拥有出色的文档、友好的编译器和清晰的错误提示信息， 还集成了一流的工具——包管理器和构建工具， 智能地自动补全和类型检验的多编辑器支持， 以及自动格式化代码等等。</a:t>
            </a:r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ym typeface="+mn-ea"/>
              </a:rPr>
              <a:t>Rust </a:t>
            </a:r>
            <a:r>
              <a:rPr lang="zh-CN" altLang="en-US" dirty="0">
                <a:sym typeface="+mn-ea"/>
              </a:rPr>
              <a:t>语言与应用领域</a:t>
            </a:r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Text Box 4"/>
          <p:cNvSpPr txBox="1"/>
          <p:nvPr/>
        </p:nvSpPr>
        <p:spPr>
          <a:xfrm>
            <a:off x="669925" y="1607820"/>
            <a:ext cx="476186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800"/>
              <a:t>Rust </a:t>
            </a:r>
            <a:r>
              <a:rPr lang="zh-CN" altLang="en-US" sz="2800"/>
              <a:t>语言特性</a:t>
            </a:r>
            <a:r>
              <a:rPr lang="en-US" altLang="zh-CN" sz="2800"/>
              <a:t>/ </a:t>
            </a:r>
            <a:r>
              <a:rPr lang="zh-CN" altLang="en-US" sz="2800"/>
              <a:t>高性能</a:t>
            </a:r>
            <a:endParaRPr lang="zh-CN" altLang="en-US" sz="2800"/>
          </a:p>
        </p:txBody>
      </p:sp>
      <p:pic>
        <p:nvPicPr>
          <p:cNvPr id="8" name="Picture 7" descr="rustvsc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98615" y="1115695"/>
            <a:ext cx="4418330" cy="5205730"/>
          </a:xfrm>
          <a:prstGeom prst="rect">
            <a:avLst/>
          </a:prstGeom>
        </p:spPr>
      </p:pic>
      <p:sp>
        <p:nvSpPr>
          <p:cNvPr id="9" name="Text Box 8"/>
          <p:cNvSpPr txBox="1"/>
          <p:nvPr/>
        </p:nvSpPr>
        <p:spPr>
          <a:xfrm>
            <a:off x="795655" y="2977515"/>
            <a:ext cx="58299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/>
              <a:t>1. </a:t>
            </a:r>
            <a:r>
              <a:rPr lang="zh-CN" altLang="en-US"/>
              <a:t>媲美 </a:t>
            </a:r>
            <a:r>
              <a:rPr lang="en-US" altLang="zh-CN"/>
              <a:t>C/Cpp </a:t>
            </a:r>
            <a:r>
              <a:rPr lang="zh-CN" altLang="en-US"/>
              <a:t>的性能。</a:t>
            </a:r>
            <a:endParaRPr lang="zh-CN" altLang="en-US"/>
          </a:p>
          <a:p>
            <a:r>
              <a:rPr lang="en-US" altLang="zh-CN"/>
              <a:t>2. Rust 语言抽象程度比 C 语言更高</a:t>
            </a:r>
            <a:r>
              <a:rPr lang="zh-CN" altLang="en-US"/>
              <a:t>。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THEME" val="https://www.islide.cc;"/>
</p:tagLst>
</file>

<file path=ppt/tags/tag2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</p:tagLst>
</file>

<file path=ppt/tags/tag4.xml><?xml version="1.0" encoding="utf-8"?>
<p:tagLst xmlns:p="http://schemas.openxmlformats.org/presentationml/2006/main">
  <p:tag name="ISLIDE.THEME" val="https://www.islide.cc;"/>
</p:tagLst>
</file>

<file path=ppt/tags/tag5.xml><?xml version="1.0" encoding="utf-8"?>
<p:tagLst xmlns:p="http://schemas.openxmlformats.org/presentationml/2006/main">
  <p:tag name="ISLIDE.THEME" val="https://www.islide.cc;"/>
</p:tagLst>
</file>

<file path=ppt/tags/tag6.xml><?xml version="1.0" encoding="utf-8"?>
<p:tagLst xmlns:p="http://schemas.openxmlformats.org/presentationml/2006/main"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  <p:tag name="ISLIDE.THEME" val="1f6c1c56-6686-42c6-a0d3-329ea1efd856"/>
</p:tagLst>
</file>

<file path=ppt/theme/theme1.xml><?xml version="1.0" encoding="utf-8"?>
<a:theme xmlns:a="http://schemas.openxmlformats.org/drawingml/2006/main" name="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6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371C7"/>
      </a:accent1>
      <a:accent2>
        <a:srgbClr val="090265"/>
      </a:accent2>
      <a:accent3>
        <a:srgbClr val="4B4BFF"/>
      </a:accent3>
      <a:accent4>
        <a:srgbClr val="FA30F0"/>
      </a:accent4>
      <a:accent5>
        <a:srgbClr val="FF0F80"/>
      </a:accent5>
      <a:accent6>
        <a:srgbClr val="FF92C5"/>
      </a:accent6>
      <a:hlink>
        <a:srgbClr val="18D8FF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6">
    <a:dk1>
      <a:srgbClr val="000000"/>
    </a:dk1>
    <a:lt1>
      <a:srgbClr val="FFFFFF"/>
    </a:lt1>
    <a:dk2>
      <a:srgbClr val="778495"/>
    </a:dk2>
    <a:lt2>
      <a:srgbClr val="F0F0F0"/>
    </a:lt2>
    <a:accent1>
      <a:srgbClr val="2371C7"/>
    </a:accent1>
    <a:accent2>
      <a:srgbClr val="090265"/>
    </a:accent2>
    <a:accent3>
      <a:srgbClr val="4B4BFF"/>
    </a:accent3>
    <a:accent4>
      <a:srgbClr val="FA30F0"/>
    </a:accent4>
    <a:accent5>
      <a:srgbClr val="FF0F80"/>
    </a:accent5>
    <a:accent6>
      <a:srgbClr val="FF92C5"/>
    </a:accent6>
    <a:hlink>
      <a:srgbClr val="18D8FF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2309</Words>
  <Application>WPS 演示</Application>
  <PresentationFormat>宽屏</PresentationFormat>
  <Paragraphs>189</Paragraphs>
  <Slides>14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3" baseType="lpstr">
      <vt:lpstr>Arial</vt:lpstr>
      <vt:lpstr>宋体</vt:lpstr>
      <vt:lpstr>Wingdings</vt:lpstr>
      <vt:lpstr>微软雅黑</vt:lpstr>
      <vt:lpstr>汉仪旗黑</vt:lpstr>
      <vt:lpstr>黑体</vt:lpstr>
      <vt:lpstr>汉仪中黑KW</vt:lpstr>
      <vt:lpstr>Impact</vt:lpstr>
      <vt:lpstr>宋体</vt:lpstr>
      <vt:lpstr>Arial Unicode MS</vt:lpstr>
      <vt:lpstr>Calibri</vt:lpstr>
      <vt:lpstr>Helvetica Neue</vt:lpstr>
      <vt:lpstr>汉仪书宋二KW</vt:lpstr>
      <vt:lpstr>微软雅黑</vt:lpstr>
      <vt:lpstr>等线</vt:lpstr>
      <vt:lpstr>汉仪中等线KW</vt:lpstr>
      <vt:lpstr>主题5</vt:lpstr>
      <vt:lpstr>1_主题5</vt:lpstr>
      <vt:lpstr>TCLayout.ActiveDocument.1</vt:lpstr>
      <vt:lpstr>Rust 学习与领域应用 </vt:lpstr>
      <vt:lpstr>个人简介</vt:lpstr>
      <vt:lpstr>PowerPoint 演示文稿</vt:lpstr>
      <vt:lpstr>PowerPoint 演示文稿</vt:lpstr>
      <vt:lpstr>个人简介</vt:lpstr>
      <vt:lpstr>PowerPoint 演示文稿</vt:lpstr>
      <vt:lpstr>Rust 语言介绍</vt:lpstr>
      <vt:lpstr>Rust 语言介绍</vt:lpstr>
      <vt:lpstr>Rust 语言介绍</vt:lpstr>
      <vt:lpstr>Rust 语言介绍</vt:lpstr>
      <vt:lpstr>Rust 语言介绍</vt:lpstr>
      <vt:lpstr>Rust 语言与应用领域</vt:lpstr>
      <vt:lpstr>Rust 语言与应用领域</vt:lpstr>
      <vt:lpstr>Thanks 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mmer2021 PowerPoint Standard Template</dc:title>
  <dc:creator>cc</dc:creator>
  <cp:lastModifiedBy>Alex</cp:lastModifiedBy>
  <cp:revision>197</cp:revision>
  <cp:lastPrinted>2022-07-05T09:02:41Z</cp:lastPrinted>
  <dcterms:created xsi:type="dcterms:W3CDTF">2022-07-05T09:02:41Z</dcterms:created>
  <dcterms:modified xsi:type="dcterms:W3CDTF">2022-07-05T09:0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4.3.0.7280</vt:lpwstr>
  </property>
  <property fmtid="{D5CDD505-2E9C-101B-9397-08002B2CF9AE}" pid="4" name="ICV">
    <vt:lpwstr>F711F4E19271B52A79DDC3627123254F</vt:lpwstr>
  </property>
</Properties>
</file>